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9.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7.xml" ContentType="application/vnd.openxmlformats-officedocument.presentationml.tags+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0.xml" ContentType="application/vnd.openxmlformats-officedocument.presentationml.tags+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4.xml" ContentType="application/vnd.openxmlformats-officedocument.presentationml.tags+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45.xml" ContentType="application/vnd.openxmlformats-officedocument.presentationml.tags+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6.xml" ContentType="application/vnd.openxmlformats-officedocument.presentationml.tags+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7.xml" ContentType="application/vnd.openxmlformats-officedocument.presentationml.tags+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48.xml" ContentType="application/vnd.openxmlformats-officedocument.presentationml.tags+xml"/>
  <Override PartName="/ppt/notesSlides/notesSlide2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9.xml" ContentType="application/vnd.openxmlformats-officedocument.presentationml.tags+xml"/>
  <Override PartName="/ppt/notesSlides/notesSlide2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notesSlides/notesSlide2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1" r:id="rId5"/>
    <p:sldMasterId id="2147483723" r:id="rId6"/>
    <p:sldMasterId id="2147483726" r:id="rId7"/>
    <p:sldMasterId id="2147483727" r:id="rId8"/>
    <p:sldMasterId id="2147483739" r:id="rId9"/>
    <p:sldMasterId id="2147483741" r:id="rId10"/>
    <p:sldMasterId id="2147483744" r:id="rId11"/>
    <p:sldMasterId id="2147483745" r:id="rId12"/>
  </p:sldMasterIdLst>
  <p:notesMasterIdLst>
    <p:notesMasterId r:id="rId41"/>
  </p:notesMasterIdLst>
  <p:handoutMasterIdLst>
    <p:handoutMasterId r:id="rId42"/>
  </p:handoutMasterIdLst>
  <p:sldIdLst>
    <p:sldId id="256" r:id="rId13"/>
    <p:sldId id="257" r:id="rId14"/>
    <p:sldId id="258" r:id="rId15"/>
    <p:sldId id="259" r:id="rId16"/>
    <p:sldId id="260" r:id="rId17"/>
    <p:sldId id="261" r:id="rId18"/>
    <p:sldId id="262" r:id="rId19"/>
    <p:sldId id="263" r:id="rId20"/>
    <p:sldId id="264" r:id="rId21"/>
    <p:sldId id="265" r:id="rId22"/>
    <p:sldId id="266" r:id="rId23"/>
    <p:sldId id="267" r:id="rId24"/>
    <p:sldId id="269" r:id="rId25"/>
    <p:sldId id="270" r:id="rId26"/>
    <p:sldId id="271" r:id="rId27"/>
    <p:sldId id="272" r:id="rId28"/>
    <p:sldId id="273" r:id="rId29"/>
    <p:sldId id="282" r:id="rId30"/>
    <p:sldId id="290" r:id="rId31"/>
    <p:sldId id="274" r:id="rId32"/>
    <p:sldId id="275" r:id="rId33"/>
    <p:sldId id="276" r:id="rId34"/>
    <p:sldId id="277" r:id="rId35"/>
    <p:sldId id="291" r:id="rId36"/>
    <p:sldId id="279" r:id="rId37"/>
    <p:sldId id="287" r:id="rId38"/>
    <p:sldId id="288" r:id="rId39"/>
    <p:sldId id="280" r:id="rId4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04"/>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00" autoAdjust="0"/>
    <p:restoredTop sz="91727" autoAdjust="0"/>
  </p:normalViewPr>
  <p:slideViewPr>
    <p:cSldViewPr snapToGrid="0" showGuides="1">
      <p:cViewPr varScale="1">
        <p:scale>
          <a:sx n="84" d="100"/>
          <a:sy n="84" d="100"/>
        </p:scale>
        <p:origin x="1734"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38"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67B0E4-A95F-44FB-AD56-0B5F7D175FB9}" type="doc">
      <dgm:prSet loTypeId="urn:microsoft.com/office/officeart/2005/8/layout/venn1" loCatId="relationship" qsTypeId="urn:microsoft.com/office/officeart/2005/8/quickstyle/3d8" qsCatId="3D" csTypeId="urn:microsoft.com/office/officeart/2005/8/colors/colorful5" csCatId="colorful" phldr="1"/>
      <dgm:spPr>
        <a:scene3d>
          <a:camera prst="orthographicFront" zoom="82000">
            <a:rot lat="0" lon="0" rev="0"/>
          </a:camera>
          <a:lightRig rig="balanced" dir="t">
            <a:rot lat="0" lon="0" rev="8700000"/>
          </a:lightRig>
        </a:scene3d>
      </dgm:spPr>
      <dgm:t>
        <a:bodyPr/>
        <a:lstStyle/>
        <a:p>
          <a:endParaRPr lang="en-US"/>
        </a:p>
      </dgm:t>
    </dgm:pt>
    <dgm:pt modelId="{CB688C35-2293-4214-9F83-3BFCF4DEDF36}">
      <dgm:prSet custT="1"/>
      <dgm:spPr>
        <a:scene3d>
          <a:camera prst="orthographicFront" zoom="82000">
            <a:rot lat="0" lon="0" rev="0"/>
          </a:camera>
          <a:lightRig rig="balanced" dir="t">
            <a:rot lat="0" lon="0" rev="8700000"/>
          </a:lightRig>
        </a:scene3d>
        <a:sp3d>
          <a:bevelT w="190500" h="38100"/>
        </a:sp3d>
      </dgm:spPr>
      <dgm:t>
        <a:bodyPr/>
        <a:lstStyle/>
        <a:p>
          <a:pPr rtl="0"/>
          <a:r>
            <a:rPr lang="en-US" sz="1400" b="1" dirty="0" smtClean="0">
              <a:latin typeface="Arial"/>
              <a:ea typeface="+mn-ea"/>
              <a:cs typeface="+mn-cs"/>
            </a:rPr>
            <a:t>MongoDB</a:t>
          </a:r>
          <a:r>
            <a:rPr lang="en-US" sz="1400" dirty="0" smtClean="0">
              <a:latin typeface="Arial"/>
              <a:ea typeface="+mn-ea"/>
              <a:cs typeface="+mn-cs"/>
            </a:rPr>
            <a:t> (from </a:t>
          </a:r>
          <a:r>
            <a:rPr lang="en-US" sz="1400" i="1" dirty="0" smtClean="0">
              <a:latin typeface="Arial"/>
              <a:ea typeface="+mn-ea"/>
              <a:cs typeface="+mn-cs"/>
            </a:rPr>
            <a:t>humongous</a:t>
          </a:r>
          <a:r>
            <a:rPr lang="en-US" sz="1400" dirty="0" smtClean="0">
              <a:latin typeface="Arial"/>
              <a:ea typeface="+mn-ea"/>
              <a:cs typeface="+mn-cs"/>
            </a:rPr>
            <a:t>) is a cross-platform document oriented database</a:t>
          </a:r>
          <a:endParaRPr lang="en-US" sz="1400" dirty="0">
            <a:latin typeface="Arial"/>
            <a:ea typeface="+mn-ea"/>
            <a:cs typeface="+mn-cs"/>
          </a:endParaRPr>
        </a:p>
      </dgm:t>
    </dgm:pt>
    <dgm:pt modelId="{9A680751-1017-4C82-AA01-CCA11CA66DA0}" type="parTrans" cxnId="{C695BCA2-9B52-4B0F-B2A8-D102D4E1CAA7}">
      <dgm:prSet/>
      <dgm:spPr/>
      <dgm:t>
        <a:bodyPr/>
        <a:lstStyle/>
        <a:p>
          <a:endParaRPr lang="en-US"/>
        </a:p>
      </dgm:t>
    </dgm:pt>
    <dgm:pt modelId="{16AD5833-8B4F-4923-B9C1-EBD774B2B6F7}" type="sibTrans" cxnId="{C695BCA2-9B52-4B0F-B2A8-D102D4E1CAA7}">
      <dgm:prSet/>
      <dgm:spPr/>
      <dgm:t>
        <a:bodyPr/>
        <a:lstStyle/>
        <a:p>
          <a:endParaRPr lang="en-US"/>
        </a:p>
      </dgm:t>
    </dgm:pt>
    <dgm:pt modelId="{E997129C-249D-46E6-9FCF-FFAE8FDE4424}">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Schema-free document database</a:t>
          </a:r>
          <a:endParaRPr lang="en-US" sz="1400" dirty="0">
            <a:latin typeface="Arial"/>
            <a:ea typeface="+mn-ea"/>
            <a:cs typeface="+mn-cs"/>
          </a:endParaRPr>
        </a:p>
      </dgm:t>
    </dgm:pt>
    <dgm:pt modelId="{47FAFBBB-1ABD-45DD-83CA-5CC68E79D672}" type="parTrans" cxnId="{CDBF02AC-FA95-4704-8D21-D9B67EB45DCE}">
      <dgm:prSet/>
      <dgm:spPr/>
      <dgm:t>
        <a:bodyPr/>
        <a:lstStyle/>
        <a:p>
          <a:endParaRPr lang="en-US"/>
        </a:p>
      </dgm:t>
    </dgm:pt>
    <dgm:pt modelId="{CE296F3C-C538-4DBC-8FF2-30032542B6CC}" type="sibTrans" cxnId="{CDBF02AC-FA95-4704-8D21-D9B67EB45DCE}">
      <dgm:prSet/>
      <dgm:spPr/>
      <dgm:t>
        <a:bodyPr/>
        <a:lstStyle/>
        <a:p>
          <a:endParaRPr lang="en-US"/>
        </a:p>
      </dgm:t>
    </dgm:pt>
    <dgm:pt modelId="{287632FB-4284-4A06-AECB-BE08E9D5AD72}">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NoSQL </a:t>
          </a:r>
          <a:r>
            <a:rPr lang="en-US" sz="1400" dirty="0" smtClean="0">
              <a:latin typeface="Arial"/>
              <a:ea typeface="+mn-ea"/>
              <a:cs typeface="+mn-cs"/>
            </a:rPr>
            <a:t>database</a:t>
          </a:r>
          <a:endParaRPr lang="en-US" sz="1400" dirty="0">
            <a:latin typeface="Arial"/>
            <a:ea typeface="+mn-ea"/>
            <a:cs typeface="+mn-cs"/>
          </a:endParaRPr>
        </a:p>
      </dgm:t>
    </dgm:pt>
    <dgm:pt modelId="{75F5E46F-089A-46FC-82FD-E333992C81D9}" type="parTrans" cxnId="{67634243-B678-43D9-A602-99B7A5C7F54C}">
      <dgm:prSet/>
      <dgm:spPr/>
      <dgm:t>
        <a:bodyPr/>
        <a:lstStyle/>
        <a:p>
          <a:endParaRPr lang="en-US"/>
        </a:p>
      </dgm:t>
    </dgm:pt>
    <dgm:pt modelId="{A7499254-B407-48A8-96BE-FE3047E56040}" type="sibTrans" cxnId="{67634243-B678-43D9-A602-99B7A5C7F54C}">
      <dgm:prSet/>
      <dgm:spPr/>
      <dgm:t>
        <a:bodyPr/>
        <a:lstStyle/>
        <a:p>
          <a:endParaRPr lang="en-US"/>
        </a:p>
      </dgm:t>
    </dgm:pt>
    <dgm:pt modelId="{97BDD1FD-A4F1-48F9-A93B-7D0A4770E385}">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Written in C++  </a:t>
          </a:r>
          <a:endParaRPr lang="en-US" sz="1400" dirty="0">
            <a:latin typeface="Arial"/>
            <a:ea typeface="+mn-ea"/>
            <a:cs typeface="+mn-cs"/>
          </a:endParaRPr>
        </a:p>
      </dgm:t>
    </dgm:pt>
    <dgm:pt modelId="{9027F5AF-8C74-405A-A04B-22C15828093D}" type="parTrans" cxnId="{CE31F689-CF18-4043-9A6F-2EB7D9CF556C}">
      <dgm:prSet/>
      <dgm:spPr/>
      <dgm:t>
        <a:bodyPr/>
        <a:lstStyle/>
        <a:p>
          <a:endParaRPr lang="en-US"/>
        </a:p>
      </dgm:t>
    </dgm:pt>
    <dgm:pt modelId="{575E7797-54D1-4A8D-815D-F213A768FB17}" type="sibTrans" cxnId="{CE31F689-CF18-4043-9A6F-2EB7D9CF556C}">
      <dgm:prSet/>
      <dgm:spPr/>
      <dgm:t>
        <a:bodyPr/>
        <a:lstStyle/>
        <a:p>
          <a:endParaRPr lang="en-US"/>
        </a:p>
      </dgm:t>
    </dgm:pt>
    <dgm:pt modelId="{26F6DD32-8D8E-4A7E-8B6F-28A41FBDA1A1}">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Open-source project that mainly driven by 10gen Inc. </a:t>
          </a:r>
          <a:endParaRPr lang="en-US" sz="1400" dirty="0">
            <a:latin typeface="Arial"/>
            <a:ea typeface="+mn-ea"/>
            <a:cs typeface="+mn-cs"/>
          </a:endParaRPr>
        </a:p>
      </dgm:t>
    </dgm:pt>
    <dgm:pt modelId="{CB638EC3-A6C6-4E65-BE3A-33A8CF3D4BAE}" type="parTrans" cxnId="{0919EC6A-0EDC-4EAC-B53B-C3C6AC6D8E6B}">
      <dgm:prSet/>
      <dgm:spPr/>
      <dgm:t>
        <a:bodyPr/>
        <a:lstStyle/>
        <a:p>
          <a:endParaRPr lang="en-US"/>
        </a:p>
      </dgm:t>
    </dgm:pt>
    <dgm:pt modelId="{A07E4316-B9A6-424A-A129-38C174921A54}" type="sibTrans" cxnId="{0919EC6A-0EDC-4EAC-B53B-C3C6AC6D8E6B}">
      <dgm:prSet/>
      <dgm:spPr/>
      <dgm:t>
        <a:bodyPr/>
        <a:lstStyle/>
        <a:p>
          <a:endParaRPr lang="en-US"/>
        </a:p>
      </dgm:t>
    </dgm:pt>
    <dgm:pt modelId="{E415371B-000D-44E6-864A-4B1281D5402F}">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10gen Inc. also offers professional services around  MongoDB  </a:t>
          </a:r>
          <a:endParaRPr lang="en-US" sz="1400" dirty="0">
            <a:latin typeface="Arial"/>
            <a:ea typeface="+mn-ea"/>
            <a:cs typeface="+mn-cs"/>
          </a:endParaRPr>
        </a:p>
      </dgm:t>
    </dgm:pt>
    <dgm:pt modelId="{FA3C8D19-1DE7-429F-B0C7-09B3781A5F63}" type="parTrans" cxnId="{DD6A5554-68E6-40AC-9349-A3B444488E76}">
      <dgm:prSet/>
      <dgm:spPr/>
      <dgm:t>
        <a:bodyPr/>
        <a:lstStyle/>
        <a:p>
          <a:endParaRPr lang="en-US"/>
        </a:p>
      </dgm:t>
    </dgm:pt>
    <dgm:pt modelId="{6CD25593-F743-4B79-B687-182412A7EE5C}" type="sibTrans" cxnId="{DD6A5554-68E6-40AC-9349-A3B444488E76}">
      <dgm:prSet/>
      <dgm:spPr/>
      <dgm:t>
        <a:bodyPr/>
        <a:lstStyle/>
        <a:p>
          <a:endParaRPr lang="en-US"/>
        </a:p>
      </dgm:t>
    </dgm:pt>
    <dgm:pt modelId="{428EF0FF-8F12-4D37-96F8-1EE4EF6516BF}">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Has driver to all most every popular language programming </a:t>
          </a:r>
          <a:endParaRPr lang="en-US" sz="1400" dirty="0">
            <a:latin typeface="Arial"/>
            <a:ea typeface="+mn-ea"/>
            <a:cs typeface="+mn-cs"/>
          </a:endParaRPr>
        </a:p>
      </dgm:t>
    </dgm:pt>
    <dgm:pt modelId="{5ECCBDFD-6AFA-4333-A13C-925059554C96}" type="parTrans" cxnId="{1E57E837-2C83-4C58-9C77-AF39CCAC79DE}">
      <dgm:prSet/>
      <dgm:spPr/>
      <dgm:t>
        <a:bodyPr/>
        <a:lstStyle/>
        <a:p>
          <a:endParaRPr lang="en-US"/>
        </a:p>
      </dgm:t>
    </dgm:pt>
    <dgm:pt modelId="{CCF7DD79-D719-48F5-AC73-ED6933FF7376}" type="sibTrans" cxnId="{1E57E837-2C83-4C58-9C77-AF39CCAC79DE}">
      <dgm:prSet/>
      <dgm:spPr/>
      <dgm:t>
        <a:bodyPr/>
        <a:lstStyle/>
        <a:p>
          <a:endParaRPr lang="en-US"/>
        </a:p>
      </dgm:t>
    </dgm:pt>
    <dgm:pt modelId="{A4C9FA3E-6071-4EDD-ABD0-450D15D673EC}">
      <dgm:prSet/>
      <dgm:spPr/>
      <dgm:t>
        <a:bodyPr/>
        <a:lstStyle/>
        <a:p>
          <a:endParaRPr lang="en-US" dirty="0"/>
        </a:p>
      </dgm:t>
    </dgm:pt>
    <dgm:pt modelId="{97B6DD06-ECC9-4637-A8FA-04A7BD8B685B}" type="parTrans" cxnId="{3DD6F9D2-B5BE-4328-929F-9438470119CC}">
      <dgm:prSet/>
      <dgm:spPr/>
      <dgm:t>
        <a:bodyPr/>
        <a:lstStyle/>
        <a:p>
          <a:endParaRPr lang="en-US"/>
        </a:p>
      </dgm:t>
    </dgm:pt>
    <dgm:pt modelId="{DE568F51-27B8-451D-94A7-0156B993A3C4}" type="sibTrans" cxnId="{3DD6F9D2-B5BE-4328-929F-9438470119CC}">
      <dgm:prSet/>
      <dgm:spPr/>
      <dgm:t>
        <a:bodyPr/>
        <a:lstStyle/>
        <a:p>
          <a:endParaRPr lang="en-US"/>
        </a:p>
      </dgm:t>
    </dgm:pt>
    <dgm:pt modelId="{07DF84DF-DD06-48F2-9B8A-65861B32C60D}">
      <dgm:prSet/>
      <dgm:spPr/>
      <dgm:t>
        <a:bodyPr/>
        <a:lstStyle/>
        <a:p>
          <a:pPr rtl="0"/>
          <a:endParaRPr lang="en-US" dirty="0"/>
        </a:p>
      </dgm:t>
    </dgm:pt>
    <dgm:pt modelId="{A1429A35-8748-4CE3-8B8F-BCC1D9BB306E}" type="parTrans" cxnId="{58CF8A40-126B-448C-81A0-7E53ED1D7D9A}">
      <dgm:prSet/>
      <dgm:spPr/>
      <dgm:t>
        <a:bodyPr/>
        <a:lstStyle/>
        <a:p>
          <a:endParaRPr lang="en-US"/>
        </a:p>
      </dgm:t>
    </dgm:pt>
    <dgm:pt modelId="{1320D9B6-A577-4E0E-A180-F33461932E0F}" type="sibTrans" cxnId="{58CF8A40-126B-448C-81A0-7E53ED1D7D9A}">
      <dgm:prSet/>
      <dgm:spPr/>
      <dgm:t>
        <a:bodyPr/>
        <a:lstStyle/>
        <a:p>
          <a:endParaRPr lang="en-US"/>
        </a:p>
      </dgm:t>
    </dgm:pt>
    <dgm:pt modelId="{BEBC2043-E6B9-4FDB-91DF-4917E6B982A1}">
      <dgm:prSet/>
      <dgm:spPr/>
      <dgm:t>
        <a:bodyPr/>
        <a:lstStyle/>
        <a:p>
          <a:pPr rtl="0"/>
          <a:endParaRPr lang="en-US" dirty="0"/>
        </a:p>
      </dgm:t>
    </dgm:pt>
    <dgm:pt modelId="{C460725B-33AB-4F14-ACD7-E2C46AA44163}" type="parTrans" cxnId="{B02D0B24-9FE5-4956-B587-E5AED4383A61}">
      <dgm:prSet/>
      <dgm:spPr/>
      <dgm:t>
        <a:bodyPr/>
        <a:lstStyle/>
        <a:p>
          <a:endParaRPr lang="en-US"/>
        </a:p>
      </dgm:t>
    </dgm:pt>
    <dgm:pt modelId="{ABDAD439-4E3F-4178-A2E8-1C4348E5AAED}" type="sibTrans" cxnId="{B02D0B24-9FE5-4956-B587-E5AED4383A61}">
      <dgm:prSet/>
      <dgm:spPr/>
      <dgm:t>
        <a:bodyPr/>
        <a:lstStyle/>
        <a:p>
          <a:endParaRPr lang="en-US"/>
        </a:p>
      </dgm:t>
    </dgm:pt>
    <dgm:pt modelId="{1C11B92B-E4FC-4171-B8F2-736DF9D162EF}">
      <dgm:prSet/>
      <dgm:spPr/>
      <dgm:t>
        <a:bodyPr/>
        <a:lstStyle/>
        <a:p>
          <a:pPr rtl="0"/>
          <a:endParaRPr lang="en-US" b="1" dirty="0"/>
        </a:p>
      </dgm:t>
    </dgm:pt>
    <dgm:pt modelId="{8A49EF63-CF03-4C23-AEBA-5E186CE09C0C}" type="parTrans" cxnId="{07C26831-4519-469E-AAC6-561700783FB4}">
      <dgm:prSet/>
      <dgm:spPr/>
      <dgm:t>
        <a:bodyPr/>
        <a:lstStyle/>
        <a:p>
          <a:endParaRPr lang="en-US"/>
        </a:p>
      </dgm:t>
    </dgm:pt>
    <dgm:pt modelId="{83041314-6C02-4812-9AAF-0DFF233B92CE}" type="sibTrans" cxnId="{07C26831-4519-469E-AAC6-561700783FB4}">
      <dgm:prSet/>
      <dgm:spPr/>
      <dgm:t>
        <a:bodyPr/>
        <a:lstStyle/>
        <a:p>
          <a:endParaRPr lang="en-US"/>
        </a:p>
      </dgm:t>
    </dgm:pt>
    <dgm:pt modelId="{1868745D-E1F2-49DE-8F6F-1ADA5D4F8F81}">
      <dgm:prSet/>
      <dgm:spPr/>
      <dgm:t>
        <a:bodyPr/>
        <a:lstStyle/>
        <a:p>
          <a:pPr rtl="0"/>
          <a:endParaRPr lang="en-US" dirty="0"/>
        </a:p>
      </dgm:t>
    </dgm:pt>
    <dgm:pt modelId="{FB025B7C-A62C-41F5-B754-70ACE78397EB}" type="parTrans" cxnId="{84D58A5A-1A9A-4CFC-9541-BA0F8CF6F469}">
      <dgm:prSet/>
      <dgm:spPr/>
      <dgm:t>
        <a:bodyPr/>
        <a:lstStyle/>
        <a:p>
          <a:endParaRPr lang="en-US"/>
        </a:p>
      </dgm:t>
    </dgm:pt>
    <dgm:pt modelId="{ADA5D76C-BA14-45B4-8974-779B35732C87}" type="sibTrans" cxnId="{84D58A5A-1A9A-4CFC-9541-BA0F8CF6F469}">
      <dgm:prSet/>
      <dgm:spPr/>
      <dgm:t>
        <a:bodyPr/>
        <a:lstStyle/>
        <a:p>
          <a:endParaRPr lang="en-US"/>
        </a:p>
      </dgm:t>
    </dgm:pt>
    <dgm:pt modelId="{94E3FF9E-3AA8-4EB8-9318-7A7FD2194330}" type="pres">
      <dgm:prSet presAssocID="{E967B0E4-A95F-44FB-AD56-0B5F7D175FB9}" presName="compositeShape" presStyleCnt="0">
        <dgm:presLayoutVars>
          <dgm:chMax val="7"/>
          <dgm:dir/>
          <dgm:resizeHandles val="exact"/>
        </dgm:presLayoutVars>
      </dgm:prSet>
      <dgm:spPr/>
      <dgm:t>
        <a:bodyPr/>
        <a:lstStyle/>
        <a:p>
          <a:endParaRPr lang="en-US"/>
        </a:p>
      </dgm:t>
    </dgm:pt>
    <dgm:pt modelId="{E439538B-EF2C-47C3-8A08-BF122AC74686}" type="pres">
      <dgm:prSet presAssocID="{CB688C35-2293-4214-9F83-3BFCF4DEDF36}" presName="circ1" presStyleLbl="vennNode1" presStyleIdx="0" presStyleCnt="7"/>
      <dgm:spPr>
        <a:xfrm>
          <a:off x="3529698" y="123193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5C7C0FFE-D901-4BD6-B7D3-0F9BD0D58732}" type="pres">
      <dgm:prSet presAssocID="{CB688C35-2293-4214-9F83-3BFCF4DEDF36}" presName="circ1Tx" presStyleLbl="revTx" presStyleIdx="0" presStyleCnt="0">
        <dgm:presLayoutVars>
          <dgm:chMax val="0"/>
          <dgm:chPref val="0"/>
          <dgm:bulletEnabled val="1"/>
        </dgm:presLayoutVars>
      </dgm:prSet>
      <dgm:spPr>
        <a:xfrm>
          <a:off x="3414621" y="0"/>
          <a:ext cx="1808343" cy="967740"/>
        </a:xfrm>
        <a:prstGeom prst="rect">
          <a:avLst/>
        </a:prstGeom>
      </dgm:spPr>
      <dgm:t>
        <a:bodyPr/>
        <a:lstStyle/>
        <a:p>
          <a:endParaRPr lang="en-US"/>
        </a:p>
      </dgm:t>
    </dgm:pt>
    <dgm:pt modelId="{AFB0ADCE-C9AF-46EA-8626-9DE872D38D85}" type="pres">
      <dgm:prSet presAssocID="{E997129C-249D-46E6-9FCF-FFAE8FDE4424}" presName="circ2" presStyleLbl="vennNode1" presStyleIdx="1" presStyleCnt="7"/>
      <dgm:spPr>
        <a:xfrm>
          <a:off x="3992634" y="145451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3A9BA6AE-D1B4-4ED4-9814-B213F06686D1}" type="pres">
      <dgm:prSet presAssocID="{E997129C-249D-46E6-9FCF-FFAE8FDE4424}" presName="circ2Tx" presStyleLbl="revTx" presStyleIdx="0" presStyleCnt="0">
        <dgm:presLayoutVars>
          <dgm:chMax val="0"/>
          <dgm:chPref val="0"/>
          <dgm:bulletEnabled val="1"/>
        </dgm:presLayoutVars>
      </dgm:prSet>
      <dgm:spPr>
        <a:xfrm>
          <a:off x="5765468" y="919353"/>
          <a:ext cx="1709706" cy="1064514"/>
        </a:xfrm>
        <a:prstGeom prst="rect">
          <a:avLst/>
        </a:prstGeom>
      </dgm:spPr>
      <dgm:t>
        <a:bodyPr/>
        <a:lstStyle/>
        <a:p>
          <a:endParaRPr lang="en-US"/>
        </a:p>
      </dgm:t>
    </dgm:pt>
    <dgm:pt modelId="{89649579-F52D-466B-A588-AED3B9ADF3FC}" type="pres">
      <dgm:prSet presAssocID="{287632FB-4284-4A06-AECB-BE08E9D5AD72}" presName="circ3" presStyleLbl="vennNode1" presStyleIdx="2" presStyleCnt="7"/>
      <dgm:spPr>
        <a:xfrm>
          <a:off x="4106395" y="1955318"/>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DA5ABB51-60F5-4F45-90D6-2266863EF8E2}" type="pres">
      <dgm:prSet presAssocID="{287632FB-4284-4A06-AECB-BE08E9D5AD72}" presName="circ3Tx" presStyleLbl="revTx" presStyleIdx="0" presStyleCnt="0">
        <dgm:presLayoutVars>
          <dgm:chMax val="0"/>
          <dgm:chPref val="0"/>
          <dgm:bulletEnabled val="1"/>
        </dgm:presLayoutVars>
      </dgm:prSet>
      <dgm:spPr>
        <a:xfrm>
          <a:off x="5929862" y="2274189"/>
          <a:ext cx="1676827" cy="1137094"/>
        </a:xfrm>
        <a:prstGeom prst="rect">
          <a:avLst/>
        </a:prstGeom>
      </dgm:spPr>
      <dgm:t>
        <a:bodyPr/>
        <a:lstStyle/>
        <a:p>
          <a:endParaRPr lang="en-US"/>
        </a:p>
      </dgm:t>
    </dgm:pt>
    <dgm:pt modelId="{0B451F86-06BC-420E-933B-D06676B34080}" type="pres">
      <dgm:prSet presAssocID="{97BDD1FD-A4F1-48F9-A93B-7D0A4770E385}" presName="circ4" presStyleLbl="vennNode1" presStyleIdx="3" presStyleCnt="7"/>
      <dgm:spPr>
        <a:xfrm>
          <a:off x="3786154" y="2356930"/>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2DCFDFAE-D9C1-4919-B5AA-407029A151AE}" type="pres">
      <dgm:prSet presAssocID="{97BDD1FD-A4F1-48F9-A93B-7D0A4770E385}" presName="circ4Tx" presStyleLbl="revTx" presStyleIdx="0" presStyleCnt="0">
        <dgm:presLayoutVars>
          <dgm:chMax val="0"/>
          <dgm:chPref val="0"/>
          <dgm:bulletEnabled val="1"/>
        </dgm:presLayoutVars>
      </dgm:prSet>
      <dgm:spPr>
        <a:xfrm>
          <a:off x="5206525" y="3798379"/>
          <a:ext cx="1808343" cy="1040320"/>
        </a:xfrm>
        <a:prstGeom prst="rect">
          <a:avLst/>
        </a:prstGeom>
      </dgm:spPr>
      <dgm:t>
        <a:bodyPr/>
        <a:lstStyle/>
        <a:p>
          <a:endParaRPr lang="en-US"/>
        </a:p>
      </dgm:t>
    </dgm:pt>
    <dgm:pt modelId="{9B1E7325-8893-45CB-8F98-C94F5B3F70FE}" type="pres">
      <dgm:prSet presAssocID="{26F6DD32-8D8E-4A7E-8B6F-28A41FBDA1A1}" presName="circ5" presStyleLbl="vennNode1" presStyleIdx="4" presStyleCnt="7"/>
      <dgm:spPr>
        <a:xfrm>
          <a:off x="3273242" y="2356930"/>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4E3C39FD-FB0C-4D94-8866-72648A7C9FB9}" type="pres">
      <dgm:prSet presAssocID="{26F6DD32-8D8E-4A7E-8B6F-28A41FBDA1A1}" presName="circ5Tx" presStyleLbl="revTx" presStyleIdx="0" presStyleCnt="0">
        <dgm:presLayoutVars>
          <dgm:chMax val="0"/>
          <dgm:chPref val="0"/>
          <dgm:bulletEnabled val="1"/>
        </dgm:presLayoutVars>
      </dgm:prSet>
      <dgm:spPr>
        <a:xfrm>
          <a:off x="1622718" y="3798379"/>
          <a:ext cx="1808343" cy="1040320"/>
        </a:xfrm>
        <a:prstGeom prst="rect">
          <a:avLst/>
        </a:prstGeom>
      </dgm:spPr>
      <dgm:t>
        <a:bodyPr/>
        <a:lstStyle/>
        <a:p>
          <a:endParaRPr lang="en-US"/>
        </a:p>
      </dgm:t>
    </dgm:pt>
    <dgm:pt modelId="{7D0460D4-BB5E-4AC5-9F47-C924C8BAE37E}" type="pres">
      <dgm:prSet presAssocID="{E415371B-000D-44E6-864A-4B1281D5402F}" presName="circ6" presStyleLbl="vennNode1" presStyleIdx="5" presStyleCnt="7"/>
      <dgm:spPr>
        <a:xfrm>
          <a:off x="2953001" y="1955318"/>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343C4397-7464-4F81-B29B-AE8D69581284}" type="pres">
      <dgm:prSet presAssocID="{E415371B-000D-44E6-864A-4B1281D5402F}" presName="circ6Tx" presStyleLbl="revTx" presStyleIdx="0" presStyleCnt="0">
        <dgm:presLayoutVars>
          <dgm:chMax val="0"/>
          <dgm:chPref val="0"/>
          <dgm:bulletEnabled val="1"/>
        </dgm:presLayoutVars>
      </dgm:prSet>
      <dgm:spPr>
        <a:xfrm>
          <a:off x="1030896" y="2274189"/>
          <a:ext cx="1676827" cy="1137094"/>
        </a:xfrm>
        <a:prstGeom prst="rect">
          <a:avLst/>
        </a:prstGeom>
      </dgm:spPr>
      <dgm:t>
        <a:bodyPr/>
        <a:lstStyle/>
        <a:p>
          <a:endParaRPr lang="en-US"/>
        </a:p>
      </dgm:t>
    </dgm:pt>
    <dgm:pt modelId="{392472E3-10AD-4527-9BFA-676456565D78}" type="pres">
      <dgm:prSet presAssocID="{428EF0FF-8F12-4D37-96F8-1EE4EF6516BF}" presName="circ7" presStyleLbl="vennNode1" presStyleIdx="6" presStyleCnt="7"/>
      <dgm:spPr>
        <a:xfrm>
          <a:off x="3066762" y="145451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63875448-721E-46BC-9265-EC9A5CBF317F}" type="pres">
      <dgm:prSet presAssocID="{428EF0FF-8F12-4D37-96F8-1EE4EF6516BF}" presName="circ7Tx" presStyleLbl="revTx" presStyleIdx="0" presStyleCnt="0">
        <dgm:presLayoutVars>
          <dgm:chMax val="0"/>
          <dgm:chPref val="0"/>
          <dgm:bulletEnabled val="1"/>
        </dgm:presLayoutVars>
      </dgm:prSet>
      <dgm:spPr>
        <a:xfrm>
          <a:off x="1162412" y="919353"/>
          <a:ext cx="1709706" cy="1064514"/>
        </a:xfrm>
        <a:prstGeom prst="rect">
          <a:avLst/>
        </a:prstGeom>
      </dgm:spPr>
      <dgm:t>
        <a:bodyPr/>
        <a:lstStyle/>
        <a:p>
          <a:endParaRPr lang="en-US"/>
        </a:p>
      </dgm:t>
    </dgm:pt>
  </dgm:ptLst>
  <dgm:cxnLst>
    <dgm:cxn modelId="{1E57E837-2C83-4C58-9C77-AF39CCAC79DE}" srcId="{E967B0E4-A95F-44FB-AD56-0B5F7D175FB9}" destId="{428EF0FF-8F12-4D37-96F8-1EE4EF6516BF}" srcOrd="6" destOrd="0" parTransId="{5ECCBDFD-6AFA-4333-A13C-925059554C96}" sibTransId="{CCF7DD79-D719-48F5-AC73-ED6933FF7376}"/>
    <dgm:cxn modelId="{C695BCA2-9B52-4B0F-B2A8-D102D4E1CAA7}" srcId="{E967B0E4-A95F-44FB-AD56-0B5F7D175FB9}" destId="{CB688C35-2293-4214-9F83-3BFCF4DEDF36}" srcOrd="0" destOrd="0" parTransId="{9A680751-1017-4C82-AA01-CCA11CA66DA0}" sibTransId="{16AD5833-8B4F-4923-B9C1-EBD774B2B6F7}"/>
    <dgm:cxn modelId="{07C26831-4519-469E-AAC6-561700783FB4}" srcId="{E967B0E4-A95F-44FB-AD56-0B5F7D175FB9}" destId="{1C11B92B-E4FC-4171-B8F2-736DF9D162EF}" srcOrd="10" destOrd="0" parTransId="{8A49EF63-CF03-4C23-AEBA-5E186CE09C0C}" sibTransId="{83041314-6C02-4812-9AAF-0DFF233B92CE}"/>
    <dgm:cxn modelId="{31754367-A631-42AA-88B7-D066A1C87603}" type="presOf" srcId="{428EF0FF-8F12-4D37-96F8-1EE4EF6516BF}" destId="{63875448-721E-46BC-9265-EC9A5CBF317F}" srcOrd="0" destOrd="0" presId="urn:microsoft.com/office/officeart/2005/8/layout/venn1"/>
    <dgm:cxn modelId="{0919EC6A-0EDC-4EAC-B53B-C3C6AC6D8E6B}" srcId="{E967B0E4-A95F-44FB-AD56-0B5F7D175FB9}" destId="{26F6DD32-8D8E-4A7E-8B6F-28A41FBDA1A1}" srcOrd="4" destOrd="0" parTransId="{CB638EC3-A6C6-4E65-BE3A-33A8CF3D4BAE}" sibTransId="{A07E4316-B9A6-424A-A129-38C174921A54}"/>
    <dgm:cxn modelId="{CA948F9C-F29B-48D7-9FB1-4D726A252D89}" type="presOf" srcId="{97BDD1FD-A4F1-48F9-A93B-7D0A4770E385}" destId="{2DCFDFAE-D9C1-4919-B5AA-407029A151AE}" srcOrd="0" destOrd="0" presId="urn:microsoft.com/office/officeart/2005/8/layout/venn1"/>
    <dgm:cxn modelId="{0F439121-3F62-4F0F-A847-8C315AB8A639}" type="presOf" srcId="{287632FB-4284-4A06-AECB-BE08E9D5AD72}" destId="{DA5ABB51-60F5-4F45-90D6-2266863EF8E2}" srcOrd="0" destOrd="0" presId="urn:microsoft.com/office/officeart/2005/8/layout/venn1"/>
    <dgm:cxn modelId="{5D9C9560-F6AC-48E4-AB6F-86AD7E237BF5}" type="presOf" srcId="{26F6DD32-8D8E-4A7E-8B6F-28A41FBDA1A1}" destId="{4E3C39FD-FB0C-4D94-8866-72648A7C9FB9}" srcOrd="0" destOrd="0" presId="urn:microsoft.com/office/officeart/2005/8/layout/venn1"/>
    <dgm:cxn modelId="{67634243-B678-43D9-A602-99B7A5C7F54C}" srcId="{E967B0E4-A95F-44FB-AD56-0B5F7D175FB9}" destId="{287632FB-4284-4A06-AECB-BE08E9D5AD72}" srcOrd="2" destOrd="0" parTransId="{75F5E46F-089A-46FC-82FD-E333992C81D9}" sibTransId="{A7499254-B407-48A8-96BE-FE3047E56040}"/>
    <dgm:cxn modelId="{CDBF02AC-FA95-4704-8D21-D9B67EB45DCE}" srcId="{E967B0E4-A95F-44FB-AD56-0B5F7D175FB9}" destId="{E997129C-249D-46E6-9FCF-FFAE8FDE4424}" srcOrd="1" destOrd="0" parTransId="{47FAFBBB-1ABD-45DD-83CA-5CC68E79D672}" sibTransId="{CE296F3C-C538-4DBC-8FF2-30032542B6CC}"/>
    <dgm:cxn modelId="{9D44CEB2-A051-449B-B220-749F47986BFA}" type="presOf" srcId="{CB688C35-2293-4214-9F83-3BFCF4DEDF36}" destId="{5C7C0FFE-D901-4BD6-B7D3-0F9BD0D58732}" srcOrd="0" destOrd="0" presId="urn:microsoft.com/office/officeart/2005/8/layout/venn1"/>
    <dgm:cxn modelId="{DD6A5554-68E6-40AC-9349-A3B444488E76}" srcId="{E967B0E4-A95F-44FB-AD56-0B5F7D175FB9}" destId="{E415371B-000D-44E6-864A-4B1281D5402F}" srcOrd="5" destOrd="0" parTransId="{FA3C8D19-1DE7-429F-B0C7-09B3781A5F63}" sibTransId="{6CD25593-F743-4B79-B687-182412A7EE5C}"/>
    <dgm:cxn modelId="{B02D0B24-9FE5-4956-B587-E5AED4383A61}" srcId="{E967B0E4-A95F-44FB-AD56-0B5F7D175FB9}" destId="{BEBC2043-E6B9-4FDB-91DF-4917E6B982A1}" srcOrd="9" destOrd="0" parTransId="{C460725B-33AB-4F14-ACD7-E2C46AA44163}" sibTransId="{ABDAD439-4E3F-4178-A2E8-1C4348E5AAED}"/>
    <dgm:cxn modelId="{FFA04D2A-6DB4-4065-AA57-F3EBB5B0F8B8}" type="presOf" srcId="{E415371B-000D-44E6-864A-4B1281D5402F}" destId="{343C4397-7464-4F81-B29B-AE8D69581284}" srcOrd="0" destOrd="0" presId="urn:microsoft.com/office/officeart/2005/8/layout/venn1"/>
    <dgm:cxn modelId="{3DD6F9D2-B5BE-4328-929F-9438470119CC}" srcId="{E967B0E4-A95F-44FB-AD56-0B5F7D175FB9}" destId="{A4C9FA3E-6071-4EDD-ABD0-450D15D673EC}" srcOrd="7" destOrd="0" parTransId="{97B6DD06-ECC9-4637-A8FA-04A7BD8B685B}" sibTransId="{DE568F51-27B8-451D-94A7-0156B993A3C4}"/>
    <dgm:cxn modelId="{C906A919-AB7E-44EB-A74C-A4520830749E}" type="presOf" srcId="{E967B0E4-A95F-44FB-AD56-0B5F7D175FB9}" destId="{94E3FF9E-3AA8-4EB8-9318-7A7FD2194330}" srcOrd="0" destOrd="0" presId="urn:microsoft.com/office/officeart/2005/8/layout/venn1"/>
    <dgm:cxn modelId="{53360416-C07B-4A75-B1B3-25533E2983C4}" type="presOf" srcId="{E997129C-249D-46E6-9FCF-FFAE8FDE4424}" destId="{3A9BA6AE-D1B4-4ED4-9814-B213F06686D1}" srcOrd="0" destOrd="0" presId="urn:microsoft.com/office/officeart/2005/8/layout/venn1"/>
    <dgm:cxn modelId="{84D58A5A-1A9A-4CFC-9541-BA0F8CF6F469}" srcId="{E967B0E4-A95F-44FB-AD56-0B5F7D175FB9}" destId="{1868745D-E1F2-49DE-8F6F-1ADA5D4F8F81}" srcOrd="11" destOrd="0" parTransId="{FB025B7C-A62C-41F5-B754-70ACE78397EB}" sibTransId="{ADA5D76C-BA14-45B4-8974-779B35732C87}"/>
    <dgm:cxn modelId="{58CF8A40-126B-448C-81A0-7E53ED1D7D9A}" srcId="{E967B0E4-A95F-44FB-AD56-0B5F7D175FB9}" destId="{07DF84DF-DD06-48F2-9B8A-65861B32C60D}" srcOrd="8" destOrd="0" parTransId="{A1429A35-8748-4CE3-8B8F-BCC1D9BB306E}" sibTransId="{1320D9B6-A577-4E0E-A180-F33461932E0F}"/>
    <dgm:cxn modelId="{CE31F689-CF18-4043-9A6F-2EB7D9CF556C}" srcId="{E967B0E4-A95F-44FB-AD56-0B5F7D175FB9}" destId="{97BDD1FD-A4F1-48F9-A93B-7D0A4770E385}" srcOrd="3" destOrd="0" parTransId="{9027F5AF-8C74-405A-A04B-22C15828093D}" sibTransId="{575E7797-54D1-4A8D-815D-F213A768FB17}"/>
    <dgm:cxn modelId="{A1845138-FA42-42E1-B89A-EDB267A68322}" type="presParOf" srcId="{94E3FF9E-3AA8-4EB8-9318-7A7FD2194330}" destId="{E439538B-EF2C-47C3-8A08-BF122AC74686}" srcOrd="0" destOrd="0" presId="urn:microsoft.com/office/officeart/2005/8/layout/venn1"/>
    <dgm:cxn modelId="{D85869BA-8EE1-4628-B8F4-64014E25FFF3}" type="presParOf" srcId="{94E3FF9E-3AA8-4EB8-9318-7A7FD2194330}" destId="{5C7C0FFE-D901-4BD6-B7D3-0F9BD0D58732}" srcOrd="1" destOrd="0" presId="urn:microsoft.com/office/officeart/2005/8/layout/venn1"/>
    <dgm:cxn modelId="{13495832-6D32-46E5-ADFB-AB499F5759F8}" type="presParOf" srcId="{94E3FF9E-3AA8-4EB8-9318-7A7FD2194330}" destId="{AFB0ADCE-C9AF-46EA-8626-9DE872D38D85}" srcOrd="2" destOrd="0" presId="urn:microsoft.com/office/officeart/2005/8/layout/venn1"/>
    <dgm:cxn modelId="{CD4B9688-01EF-454A-8864-185471968101}" type="presParOf" srcId="{94E3FF9E-3AA8-4EB8-9318-7A7FD2194330}" destId="{3A9BA6AE-D1B4-4ED4-9814-B213F06686D1}" srcOrd="3" destOrd="0" presId="urn:microsoft.com/office/officeart/2005/8/layout/venn1"/>
    <dgm:cxn modelId="{18BACB45-836A-4CA7-AF6D-ADFB0027B82A}" type="presParOf" srcId="{94E3FF9E-3AA8-4EB8-9318-7A7FD2194330}" destId="{89649579-F52D-466B-A588-AED3B9ADF3FC}" srcOrd="4" destOrd="0" presId="urn:microsoft.com/office/officeart/2005/8/layout/venn1"/>
    <dgm:cxn modelId="{55DADE91-636F-4A81-8C69-DC6EA5063A26}" type="presParOf" srcId="{94E3FF9E-3AA8-4EB8-9318-7A7FD2194330}" destId="{DA5ABB51-60F5-4F45-90D6-2266863EF8E2}" srcOrd="5" destOrd="0" presId="urn:microsoft.com/office/officeart/2005/8/layout/venn1"/>
    <dgm:cxn modelId="{03CE2DF4-CF76-4219-8C82-8CDADDD83C56}" type="presParOf" srcId="{94E3FF9E-3AA8-4EB8-9318-7A7FD2194330}" destId="{0B451F86-06BC-420E-933B-D06676B34080}" srcOrd="6" destOrd="0" presId="urn:microsoft.com/office/officeart/2005/8/layout/venn1"/>
    <dgm:cxn modelId="{FD5E3435-5D11-4275-83BF-C340563C6ABA}" type="presParOf" srcId="{94E3FF9E-3AA8-4EB8-9318-7A7FD2194330}" destId="{2DCFDFAE-D9C1-4919-B5AA-407029A151AE}" srcOrd="7" destOrd="0" presId="urn:microsoft.com/office/officeart/2005/8/layout/venn1"/>
    <dgm:cxn modelId="{D85DDEAC-974E-40ED-8F03-C36E37C1096E}" type="presParOf" srcId="{94E3FF9E-3AA8-4EB8-9318-7A7FD2194330}" destId="{9B1E7325-8893-45CB-8F98-C94F5B3F70FE}" srcOrd="8" destOrd="0" presId="urn:microsoft.com/office/officeart/2005/8/layout/venn1"/>
    <dgm:cxn modelId="{5F827116-52AD-4D37-A9FB-7F70BF8D16B5}" type="presParOf" srcId="{94E3FF9E-3AA8-4EB8-9318-7A7FD2194330}" destId="{4E3C39FD-FB0C-4D94-8866-72648A7C9FB9}" srcOrd="9" destOrd="0" presId="urn:microsoft.com/office/officeart/2005/8/layout/venn1"/>
    <dgm:cxn modelId="{CCC4D8E2-63B2-4425-A8AA-6D3F7ACB228E}" type="presParOf" srcId="{94E3FF9E-3AA8-4EB8-9318-7A7FD2194330}" destId="{7D0460D4-BB5E-4AC5-9F47-C924C8BAE37E}" srcOrd="10" destOrd="0" presId="urn:microsoft.com/office/officeart/2005/8/layout/venn1"/>
    <dgm:cxn modelId="{FDE6BA87-03D4-4EE0-8C0E-831AC71526A8}" type="presParOf" srcId="{94E3FF9E-3AA8-4EB8-9318-7A7FD2194330}" destId="{343C4397-7464-4F81-B29B-AE8D69581284}" srcOrd="11" destOrd="0" presId="urn:microsoft.com/office/officeart/2005/8/layout/venn1"/>
    <dgm:cxn modelId="{7A1C5B2A-6F21-47D7-9237-0616FA79644E}" type="presParOf" srcId="{94E3FF9E-3AA8-4EB8-9318-7A7FD2194330}" destId="{392472E3-10AD-4527-9BFA-676456565D78}" srcOrd="12" destOrd="0" presId="urn:microsoft.com/office/officeart/2005/8/layout/venn1"/>
    <dgm:cxn modelId="{7DFEB77F-5A9B-461E-989C-3F005D67CB02}" type="presParOf" srcId="{94E3FF9E-3AA8-4EB8-9318-7A7FD2194330}" destId="{63875448-721E-46BC-9265-EC9A5CBF317F}" srcOrd="13" destOrd="0" presId="urn:microsoft.com/office/officeart/2005/8/layout/ven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A8B69D5-4A03-471B-84A9-459DEC16D43B}" type="doc">
      <dgm:prSet loTypeId="urn:microsoft.com/office/officeart/2005/8/layout/hierarchy1" loCatId="hierarchy" qsTypeId="urn:microsoft.com/office/officeart/2005/8/quickstyle/simple3" qsCatId="simple" csTypeId="urn:microsoft.com/office/officeart/2005/8/colors/accent5_1" csCatId="accent5" phldr="1"/>
      <dgm:spPr/>
      <dgm:t>
        <a:bodyPr/>
        <a:lstStyle/>
        <a:p>
          <a:endParaRPr lang="en-US"/>
        </a:p>
      </dgm:t>
    </dgm:pt>
    <dgm:pt modelId="{9BC5240B-E934-4556-9CBC-F43B4EE6F809}">
      <dgm:prSet custT="1"/>
      <dgm:spPr/>
      <dgm:t>
        <a:bodyPr/>
        <a:lstStyle/>
        <a:p>
          <a:pPr rtl="0"/>
          <a:r>
            <a:rPr lang="en-US" sz="1400" b="1" dirty="0" smtClean="0"/>
            <a:t>A Database has “Collections”</a:t>
          </a:r>
          <a:endParaRPr lang="en-US" sz="1400" dirty="0"/>
        </a:p>
      </dgm:t>
    </dgm:pt>
    <dgm:pt modelId="{EA87B826-7EFD-419E-8D46-806AA2FC825B}" type="parTrans" cxnId="{1A27BBE5-88A8-45D4-9922-04CC6144562C}">
      <dgm:prSet/>
      <dgm:spPr/>
      <dgm:t>
        <a:bodyPr/>
        <a:lstStyle/>
        <a:p>
          <a:endParaRPr lang="en-US" sz="1400"/>
        </a:p>
      </dgm:t>
    </dgm:pt>
    <dgm:pt modelId="{5D446DE5-DDCD-4952-B8B0-FAD9BA2A9FFB}" type="sibTrans" cxnId="{1A27BBE5-88A8-45D4-9922-04CC6144562C}">
      <dgm:prSet/>
      <dgm:spPr/>
      <dgm:t>
        <a:bodyPr/>
        <a:lstStyle/>
        <a:p>
          <a:endParaRPr lang="en-US" sz="1400"/>
        </a:p>
      </dgm:t>
    </dgm:pt>
    <dgm:pt modelId="{E61394BC-B973-4FCF-A9FD-54C05134B15A}">
      <dgm:prSet custT="1"/>
      <dgm:spPr/>
      <dgm:t>
        <a:bodyPr/>
        <a:lstStyle/>
        <a:p>
          <a:pPr rtl="0"/>
          <a:r>
            <a:rPr lang="en-US" sz="1400" b="1" dirty="0" smtClean="0"/>
            <a:t>Collections have “Documents”</a:t>
          </a:r>
          <a:endParaRPr lang="en-US" sz="1400" dirty="0"/>
        </a:p>
      </dgm:t>
    </dgm:pt>
    <dgm:pt modelId="{34FD333D-507A-4C91-984B-446520FDEAA7}" type="parTrans" cxnId="{68FF7743-82F8-46E4-AA04-C0BBDB05937B}">
      <dgm:prSet/>
      <dgm:spPr/>
      <dgm:t>
        <a:bodyPr/>
        <a:lstStyle/>
        <a:p>
          <a:endParaRPr lang="en-US" sz="1400"/>
        </a:p>
      </dgm:t>
    </dgm:pt>
    <dgm:pt modelId="{C3ED8153-C927-44D7-8C10-49721FEE5A91}" type="sibTrans" cxnId="{68FF7743-82F8-46E4-AA04-C0BBDB05937B}">
      <dgm:prSet/>
      <dgm:spPr/>
      <dgm:t>
        <a:bodyPr/>
        <a:lstStyle/>
        <a:p>
          <a:endParaRPr lang="en-US" sz="1400"/>
        </a:p>
      </dgm:t>
    </dgm:pt>
    <dgm:pt modelId="{6AE54A27-79C6-4F33-94AE-588E8FE4722F}">
      <dgm:prSet custT="1"/>
      <dgm:spPr/>
      <dgm:t>
        <a:bodyPr/>
        <a:lstStyle/>
        <a:p>
          <a:pPr rtl="0"/>
          <a:r>
            <a:rPr lang="en-US" sz="1400" b="1" dirty="0" smtClean="0"/>
            <a:t>Documents have “Fields”</a:t>
          </a:r>
          <a:endParaRPr lang="en-US" sz="1400" dirty="0"/>
        </a:p>
      </dgm:t>
    </dgm:pt>
    <dgm:pt modelId="{9A64B3AF-B859-4D46-A3DD-054E49EE43F9}" type="parTrans" cxnId="{60639BB7-D6AB-4300-9610-70680E39D664}">
      <dgm:prSet/>
      <dgm:spPr/>
      <dgm:t>
        <a:bodyPr/>
        <a:lstStyle/>
        <a:p>
          <a:endParaRPr lang="en-US" sz="1400"/>
        </a:p>
      </dgm:t>
    </dgm:pt>
    <dgm:pt modelId="{19506FF2-75F7-4664-9727-83CDC73E4DD1}" type="sibTrans" cxnId="{60639BB7-D6AB-4300-9610-70680E39D664}">
      <dgm:prSet/>
      <dgm:spPr/>
      <dgm:t>
        <a:bodyPr/>
        <a:lstStyle/>
        <a:p>
          <a:endParaRPr lang="en-US" sz="1400"/>
        </a:p>
      </dgm:t>
    </dgm:pt>
    <dgm:pt modelId="{4D34C142-57C9-4E9C-B65B-58A3532A93E8}">
      <dgm:prSet custT="1"/>
      <dgm:spPr/>
      <dgm:t>
        <a:bodyPr/>
        <a:lstStyle/>
        <a:p>
          <a:pPr rtl="0"/>
          <a:r>
            <a:rPr lang="en-US" sz="1400" b="1" dirty="0" smtClean="0"/>
            <a:t>Fields are key = value pairs</a:t>
          </a:r>
          <a:endParaRPr lang="en-US" sz="1400" dirty="0"/>
        </a:p>
      </dgm:t>
    </dgm:pt>
    <dgm:pt modelId="{B0ADD765-45BE-44B7-A535-149F1F555104}" type="parTrans" cxnId="{20C61CFC-0085-4BA4-8435-6AF7174861F4}">
      <dgm:prSet/>
      <dgm:spPr/>
      <dgm:t>
        <a:bodyPr/>
        <a:lstStyle/>
        <a:p>
          <a:endParaRPr lang="en-US" sz="1400"/>
        </a:p>
      </dgm:t>
    </dgm:pt>
    <dgm:pt modelId="{D35F1010-44C8-4D51-81F2-4BC8BF737C85}" type="sibTrans" cxnId="{20C61CFC-0085-4BA4-8435-6AF7174861F4}">
      <dgm:prSet/>
      <dgm:spPr/>
      <dgm:t>
        <a:bodyPr/>
        <a:lstStyle/>
        <a:p>
          <a:endParaRPr lang="en-US" sz="1400"/>
        </a:p>
      </dgm:t>
    </dgm:pt>
    <dgm:pt modelId="{378FE4EA-B1CB-485C-860E-285B6824FD78}" type="pres">
      <dgm:prSet presAssocID="{8A8B69D5-4A03-471B-84A9-459DEC16D43B}" presName="hierChild1" presStyleCnt="0">
        <dgm:presLayoutVars>
          <dgm:chPref val="1"/>
          <dgm:dir/>
          <dgm:animOne val="branch"/>
          <dgm:animLvl val="lvl"/>
          <dgm:resizeHandles/>
        </dgm:presLayoutVars>
      </dgm:prSet>
      <dgm:spPr/>
      <dgm:t>
        <a:bodyPr/>
        <a:lstStyle/>
        <a:p>
          <a:endParaRPr lang="en-US"/>
        </a:p>
      </dgm:t>
    </dgm:pt>
    <dgm:pt modelId="{011B863A-09F8-4A87-99FB-876704B79ABF}" type="pres">
      <dgm:prSet presAssocID="{9BC5240B-E934-4556-9CBC-F43B4EE6F809}" presName="hierRoot1" presStyleCnt="0"/>
      <dgm:spPr/>
      <dgm:t>
        <a:bodyPr/>
        <a:lstStyle/>
        <a:p>
          <a:endParaRPr lang="en-US"/>
        </a:p>
      </dgm:t>
    </dgm:pt>
    <dgm:pt modelId="{5E8AEB41-6BB4-4E2F-A149-56CD2568A0E2}" type="pres">
      <dgm:prSet presAssocID="{9BC5240B-E934-4556-9CBC-F43B4EE6F809}" presName="composite" presStyleCnt="0"/>
      <dgm:spPr/>
      <dgm:t>
        <a:bodyPr/>
        <a:lstStyle/>
        <a:p>
          <a:endParaRPr lang="en-US"/>
        </a:p>
      </dgm:t>
    </dgm:pt>
    <dgm:pt modelId="{5140EE56-2B7A-4ECB-832A-EF6D3F8E7308}" type="pres">
      <dgm:prSet presAssocID="{9BC5240B-E934-4556-9CBC-F43B4EE6F809}" presName="background" presStyleLbl="node0" presStyleIdx="0" presStyleCnt="1"/>
      <dgm:spPr/>
      <dgm:t>
        <a:bodyPr/>
        <a:lstStyle/>
        <a:p>
          <a:endParaRPr lang="en-US"/>
        </a:p>
      </dgm:t>
    </dgm:pt>
    <dgm:pt modelId="{A068665E-54A1-491F-AB3B-D92AB7821463}" type="pres">
      <dgm:prSet presAssocID="{9BC5240B-E934-4556-9CBC-F43B4EE6F809}" presName="text" presStyleLbl="fgAcc0" presStyleIdx="0" presStyleCnt="1" custScaleX="138623">
        <dgm:presLayoutVars>
          <dgm:chPref val="3"/>
        </dgm:presLayoutVars>
      </dgm:prSet>
      <dgm:spPr/>
      <dgm:t>
        <a:bodyPr/>
        <a:lstStyle/>
        <a:p>
          <a:endParaRPr lang="en-US"/>
        </a:p>
      </dgm:t>
    </dgm:pt>
    <dgm:pt modelId="{7D789261-950B-4982-AB3F-1A6C7A76E5DF}" type="pres">
      <dgm:prSet presAssocID="{9BC5240B-E934-4556-9CBC-F43B4EE6F809}" presName="hierChild2" presStyleCnt="0"/>
      <dgm:spPr/>
      <dgm:t>
        <a:bodyPr/>
        <a:lstStyle/>
        <a:p>
          <a:endParaRPr lang="en-US"/>
        </a:p>
      </dgm:t>
    </dgm:pt>
    <dgm:pt modelId="{5FD82E36-E872-4EEB-9C90-356715632D97}" type="pres">
      <dgm:prSet presAssocID="{34FD333D-507A-4C91-984B-446520FDEAA7}" presName="Name10" presStyleLbl="parChTrans1D2" presStyleIdx="0" presStyleCnt="1"/>
      <dgm:spPr/>
      <dgm:t>
        <a:bodyPr/>
        <a:lstStyle/>
        <a:p>
          <a:endParaRPr lang="en-US"/>
        </a:p>
      </dgm:t>
    </dgm:pt>
    <dgm:pt modelId="{1AFB4ED5-98B8-4691-A0E2-3A1B46A3A5D5}" type="pres">
      <dgm:prSet presAssocID="{E61394BC-B973-4FCF-A9FD-54C05134B15A}" presName="hierRoot2" presStyleCnt="0"/>
      <dgm:spPr/>
      <dgm:t>
        <a:bodyPr/>
        <a:lstStyle/>
        <a:p>
          <a:endParaRPr lang="en-US"/>
        </a:p>
      </dgm:t>
    </dgm:pt>
    <dgm:pt modelId="{C629470D-F121-43F8-AC0C-6488AD9E2601}" type="pres">
      <dgm:prSet presAssocID="{E61394BC-B973-4FCF-A9FD-54C05134B15A}" presName="composite2" presStyleCnt="0"/>
      <dgm:spPr/>
      <dgm:t>
        <a:bodyPr/>
        <a:lstStyle/>
        <a:p>
          <a:endParaRPr lang="en-US"/>
        </a:p>
      </dgm:t>
    </dgm:pt>
    <dgm:pt modelId="{81DF1BC2-1233-4FF3-9386-DB043FC94156}" type="pres">
      <dgm:prSet presAssocID="{E61394BC-B973-4FCF-A9FD-54C05134B15A}" presName="background2" presStyleLbl="node2" presStyleIdx="0" presStyleCnt="1"/>
      <dgm:spPr/>
      <dgm:t>
        <a:bodyPr/>
        <a:lstStyle/>
        <a:p>
          <a:endParaRPr lang="en-US"/>
        </a:p>
      </dgm:t>
    </dgm:pt>
    <dgm:pt modelId="{0057AEE3-08B9-4FA4-88AA-913E747F302B}" type="pres">
      <dgm:prSet presAssocID="{E61394BC-B973-4FCF-A9FD-54C05134B15A}" presName="text2" presStyleLbl="fgAcc2" presStyleIdx="0" presStyleCnt="1" custScaleX="149130">
        <dgm:presLayoutVars>
          <dgm:chPref val="3"/>
        </dgm:presLayoutVars>
      </dgm:prSet>
      <dgm:spPr/>
      <dgm:t>
        <a:bodyPr/>
        <a:lstStyle/>
        <a:p>
          <a:endParaRPr lang="en-US"/>
        </a:p>
      </dgm:t>
    </dgm:pt>
    <dgm:pt modelId="{7050CB46-51A6-49BE-BD93-D3B4307B561D}" type="pres">
      <dgm:prSet presAssocID="{E61394BC-B973-4FCF-A9FD-54C05134B15A}" presName="hierChild3" presStyleCnt="0"/>
      <dgm:spPr/>
      <dgm:t>
        <a:bodyPr/>
        <a:lstStyle/>
        <a:p>
          <a:endParaRPr lang="en-US"/>
        </a:p>
      </dgm:t>
    </dgm:pt>
    <dgm:pt modelId="{49A4E5D9-3915-4D37-A333-6B39CFA063AD}" type="pres">
      <dgm:prSet presAssocID="{9A64B3AF-B859-4D46-A3DD-054E49EE43F9}" presName="Name17" presStyleLbl="parChTrans1D3" presStyleIdx="0" presStyleCnt="1"/>
      <dgm:spPr/>
      <dgm:t>
        <a:bodyPr/>
        <a:lstStyle/>
        <a:p>
          <a:endParaRPr lang="en-US"/>
        </a:p>
      </dgm:t>
    </dgm:pt>
    <dgm:pt modelId="{2D608A2B-3C37-4744-97B5-1158EF0E3DB5}" type="pres">
      <dgm:prSet presAssocID="{6AE54A27-79C6-4F33-94AE-588E8FE4722F}" presName="hierRoot3" presStyleCnt="0"/>
      <dgm:spPr/>
      <dgm:t>
        <a:bodyPr/>
        <a:lstStyle/>
        <a:p>
          <a:endParaRPr lang="en-US"/>
        </a:p>
      </dgm:t>
    </dgm:pt>
    <dgm:pt modelId="{C2D9DE37-8380-440C-BD52-D2A57421A591}" type="pres">
      <dgm:prSet presAssocID="{6AE54A27-79C6-4F33-94AE-588E8FE4722F}" presName="composite3" presStyleCnt="0"/>
      <dgm:spPr/>
      <dgm:t>
        <a:bodyPr/>
        <a:lstStyle/>
        <a:p>
          <a:endParaRPr lang="en-US"/>
        </a:p>
      </dgm:t>
    </dgm:pt>
    <dgm:pt modelId="{4C4CBCA5-BEDC-4039-8C47-7E4AD4B222FA}" type="pres">
      <dgm:prSet presAssocID="{6AE54A27-79C6-4F33-94AE-588E8FE4722F}" presName="background3" presStyleLbl="node3" presStyleIdx="0" presStyleCnt="1"/>
      <dgm:spPr/>
      <dgm:t>
        <a:bodyPr/>
        <a:lstStyle/>
        <a:p>
          <a:endParaRPr lang="en-US"/>
        </a:p>
      </dgm:t>
    </dgm:pt>
    <dgm:pt modelId="{DB6A9FDE-426B-4370-8A76-77F198984D43}" type="pres">
      <dgm:prSet presAssocID="{6AE54A27-79C6-4F33-94AE-588E8FE4722F}" presName="text3" presStyleLbl="fgAcc3" presStyleIdx="0" presStyleCnt="1" custScaleX="154384">
        <dgm:presLayoutVars>
          <dgm:chPref val="3"/>
        </dgm:presLayoutVars>
      </dgm:prSet>
      <dgm:spPr/>
      <dgm:t>
        <a:bodyPr/>
        <a:lstStyle/>
        <a:p>
          <a:endParaRPr lang="en-US"/>
        </a:p>
      </dgm:t>
    </dgm:pt>
    <dgm:pt modelId="{0584F4CC-DC4D-4FA1-9894-E521682AAC71}" type="pres">
      <dgm:prSet presAssocID="{6AE54A27-79C6-4F33-94AE-588E8FE4722F}" presName="hierChild4" presStyleCnt="0"/>
      <dgm:spPr/>
      <dgm:t>
        <a:bodyPr/>
        <a:lstStyle/>
        <a:p>
          <a:endParaRPr lang="en-US"/>
        </a:p>
      </dgm:t>
    </dgm:pt>
    <dgm:pt modelId="{E1A2B616-FDE0-44CE-AA9E-0C957223AA0C}" type="pres">
      <dgm:prSet presAssocID="{B0ADD765-45BE-44B7-A535-149F1F555104}" presName="Name23" presStyleLbl="parChTrans1D4" presStyleIdx="0" presStyleCnt="1"/>
      <dgm:spPr/>
      <dgm:t>
        <a:bodyPr/>
        <a:lstStyle/>
        <a:p>
          <a:endParaRPr lang="en-US"/>
        </a:p>
      </dgm:t>
    </dgm:pt>
    <dgm:pt modelId="{392D5BBF-5BF3-4B52-BFFB-C8DB141F5656}" type="pres">
      <dgm:prSet presAssocID="{4D34C142-57C9-4E9C-B65B-58A3532A93E8}" presName="hierRoot4" presStyleCnt="0"/>
      <dgm:spPr/>
      <dgm:t>
        <a:bodyPr/>
        <a:lstStyle/>
        <a:p>
          <a:endParaRPr lang="en-US"/>
        </a:p>
      </dgm:t>
    </dgm:pt>
    <dgm:pt modelId="{D73BDB8C-ABD4-4524-8C96-941FEF6F885F}" type="pres">
      <dgm:prSet presAssocID="{4D34C142-57C9-4E9C-B65B-58A3532A93E8}" presName="composite4" presStyleCnt="0"/>
      <dgm:spPr/>
      <dgm:t>
        <a:bodyPr/>
        <a:lstStyle/>
        <a:p>
          <a:endParaRPr lang="en-US"/>
        </a:p>
      </dgm:t>
    </dgm:pt>
    <dgm:pt modelId="{38E8A307-4C46-4739-A5D2-F35418A2EDD7}" type="pres">
      <dgm:prSet presAssocID="{4D34C142-57C9-4E9C-B65B-58A3532A93E8}" presName="background4" presStyleLbl="node4" presStyleIdx="0" presStyleCnt="1"/>
      <dgm:spPr/>
      <dgm:t>
        <a:bodyPr/>
        <a:lstStyle/>
        <a:p>
          <a:endParaRPr lang="en-US"/>
        </a:p>
      </dgm:t>
    </dgm:pt>
    <dgm:pt modelId="{8DE9CC1A-6987-45EE-A16D-4CCD456337F4}" type="pres">
      <dgm:prSet presAssocID="{4D34C142-57C9-4E9C-B65B-58A3532A93E8}" presName="text4" presStyleLbl="fgAcc4" presStyleIdx="0" presStyleCnt="1" custScaleX="164892">
        <dgm:presLayoutVars>
          <dgm:chPref val="3"/>
        </dgm:presLayoutVars>
      </dgm:prSet>
      <dgm:spPr/>
      <dgm:t>
        <a:bodyPr/>
        <a:lstStyle/>
        <a:p>
          <a:endParaRPr lang="en-US"/>
        </a:p>
      </dgm:t>
    </dgm:pt>
    <dgm:pt modelId="{017DE4BC-9BFB-4DD2-9366-4D391850E6E1}" type="pres">
      <dgm:prSet presAssocID="{4D34C142-57C9-4E9C-B65B-58A3532A93E8}" presName="hierChild5" presStyleCnt="0"/>
      <dgm:spPr/>
      <dgm:t>
        <a:bodyPr/>
        <a:lstStyle/>
        <a:p>
          <a:endParaRPr lang="en-US"/>
        </a:p>
      </dgm:t>
    </dgm:pt>
  </dgm:ptLst>
  <dgm:cxnLst>
    <dgm:cxn modelId="{20C61CFC-0085-4BA4-8435-6AF7174861F4}" srcId="{6AE54A27-79C6-4F33-94AE-588E8FE4722F}" destId="{4D34C142-57C9-4E9C-B65B-58A3532A93E8}" srcOrd="0" destOrd="0" parTransId="{B0ADD765-45BE-44B7-A535-149F1F555104}" sibTransId="{D35F1010-44C8-4D51-81F2-4BC8BF737C85}"/>
    <dgm:cxn modelId="{E881ADE4-1B33-4493-8C7D-22C8FD99F4D2}" type="presOf" srcId="{E61394BC-B973-4FCF-A9FD-54C05134B15A}" destId="{0057AEE3-08B9-4FA4-88AA-913E747F302B}" srcOrd="0" destOrd="0" presId="urn:microsoft.com/office/officeart/2005/8/layout/hierarchy1"/>
    <dgm:cxn modelId="{09F87BBF-F222-49CE-8FEE-6AA35AB0E2E9}" type="presOf" srcId="{6AE54A27-79C6-4F33-94AE-588E8FE4722F}" destId="{DB6A9FDE-426B-4370-8A76-77F198984D43}" srcOrd="0" destOrd="0" presId="urn:microsoft.com/office/officeart/2005/8/layout/hierarchy1"/>
    <dgm:cxn modelId="{434EDC43-7373-449D-8724-33F83693D5F5}" type="presOf" srcId="{9BC5240B-E934-4556-9CBC-F43B4EE6F809}" destId="{A068665E-54A1-491F-AB3B-D92AB7821463}" srcOrd="0" destOrd="0" presId="urn:microsoft.com/office/officeart/2005/8/layout/hierarchy1"/>
    <dgm:cxn modelId="{1C0AB020-3122-4FAA-8649-EE036AB251FA}" type="presOf" srcId="{34FD333D-507A-4C91-984B-446520FDEAA7}" destId="{5FD82E36-E872-4EEB-9C90-356715632D97}" srcOrd="0" destOrd="0" presId="urn:microsoft.com/office/officeart/2005/8/layout/hierarchy1"/>
    <dgm:cxn modelId="{8BF31CD2-A29F-4632-A6DB-9A804EEF7646}" type="presOf" srcId="{9A64B3AF-B859-4D46-A3DD-054E49EE43F9}" destId="{49A4E5D9-3915-4D37-A333-6B39CFA063AD}" srcOrd="0" destOrd="0" presId="urn:microsoft.com/office/officeart/2005/8/layout/hierarchy1"/>
    <dgm:cxn modelId="{60639BB7-D6AB-4300-9610-70680E39D664}" srcId="{E61394BC-B973-4FCF-A9FD-54C05134B15A}" destId="{6AE54A27-79C6-4F33-94AE-588E8FE4722F}" srcOrd="0" destOrd="0" parTransId="{9A64B3AF-B859-4D46-A3DD-054E49EE43F9}" sibTransId="{19506FF2-75F7-4664-9727-83CDC73E4DD1}"/>
    <dgm:cxn modelId="{68FF7743-82F8-46E4-AA04-C0BBDB05937B}" srcId="{9BC5240B-E934-4556-9CBC-F43B4EE6F809}" destId="{E61394BC-B973-4FCF-A9FD-54C05134B15A}" srcOrd="0" destOrd="0" parTransId="{34FD333D-507A-4C91-984B-446520FDEAA7}" sibTransId="{C3ED8153-C927-44D7-8C10-49721FEE5A91}"/>
    <dgm:cxn modelId="{1A27BBE5-88A8-45D4-9922-04CC6144562C}" srcId="{8A8B69D5-4A03-471B-84A9-459DEC16D43B}" destId="{9BC5240B-E934-4556-9CBC-F43B4EE6F809}" srcOrd="0" destOrd="0" parTransId="{EA87B826-7EFD-419E-8D46-806AA2FC825B}" sibTransId="{5D446DE5-DDCD-4952-B8B0-FAD9BA2A9FFB}"/>
    <dgm:cxn modelId="{764B803B-DD0E-4190-A7F7-28476C679423}" type="presOf" srcId="{8A8B69D5-4A03-471B-84A9-459DEC16D43B}" destId="{378FE4EA-B1CB-485C-860E-285B6824FD78}" srcOrd="0" destOrd="0" presId="urn:microsoft.com/office/officeart/2005/8/layout/hierarchy1"/>
    <dgm:cxn modelId="{ED2B35DE-CE65-47AA-85AC-3A4C4FDB2152}" type="presOf" srcId="{B0ADD765-45BE-44B7-A535-149F1F555104}" destId="{E1A2B616-FDE0-44CE-AA9E-0C957223AA0C}" srcOrd="0" destOrd="0" presId="urn:microsoft.com/office/officeart/2005/8/layout/hierarchy1"/>
    <dgm:cxn modelId="{0E57E381-4FD9-4D97-AADE-B5B46FBDE880}" type="presOf" srcId="{4D34C142-57C9-4E9C-B65B-58A3532A93E8}" destId="{8DE9CC1A-6987-45EE-A16D-4CCD456337F4}" srcOrd="0" destOrd="0" presId="urn:microsoft.com/office/officeart/2005/8/layout/hierarchy1"/>
    <dgm:cxn modelId="{531553D2-67B3-4BC4-AC49-91CDB8EF4226}" type="presParOf" srcId="{378FE4EA-B1CB-485C-860E-285B6824FD78}" destId="{011B863A-09F8-4A87-99FB-876704B79ABF}" srcOrd="0" destOrd="0" presId="urn:microsoft.com/office/officeart/2005/8/layout/hierarchy1"/>
    <dgm:cxn modelId="{71A920DC-4301-4DCD-926D-30AEC65B5012}" type="presParOf" srcId="{011B863A-09F8-4A87-99FB-876704B79ABF}" destId="{5E8AEB41-6BB4-4E2F-A149-56CD2568A0E2}" srcOrd="0" destOrd="0" presId="urn:microsoft.com/office/officeart/2005/8/layout/hierarchy1"/>
    <dgm:cxn modelId="{1445500B-4A92-404A-A652-8BE9D3F60F5E}" type="presParOf" srcId="{5E8AEB41-6BB4-4E2F-A149-56CD2568A0E2}" destId="{5140EE56-2B7A-4ECB-832A-EF6D3F8E7308}" srcOrd="0" destOrd="0" presId="urn:microsoft.com/office/officeart/2005/8/layout/hierarchy1"/>
    <dgm:cxn modelId="{F67B1C40-ED12-47BF-A30F-DEFAA2A15DDB}" type="presParOf" srcId="{5E8AEB41-6BB4-4E2F-A149-56CD2568A0E2}" destId="{A068665E-54A1-491F-AB3B-D92AB7821463}" srcOrd="1" destOrd="0" presId="urn:microsoft.com/office/officeart/2005/8/layout/hierarchy1"/>
    <dgm:cxn modelId="{F0E8CC2C-DF5E-4F12-B0FF-9F6752F4C4B7}" type="presParOf" srcId="{011B863A-09F8-4A87-99FB-876704B79ABF}" destId="{7D789261-950B-4982-AB3F-1A6C7A76E5DF}" srcOrd="1" destOrd="0" presId="urn:microsoft.com/office/officeart/2005/8/layout/hierarchy1"/>
    <dgm:cxn modelId="{9DFE43A6-8476-4AC1-9997-9C15F1E6980D}" type="presParOf" srcId="{7D789261-950B-4982-AB3F-1A6C7A76E5DF}" destId="{5FD82E36-E872-4EEB-9C90-356715632D97}" srcOrd="0" destOrd="0" presId="urn:microsoft.com/office/officeart/2005/8/layout/hierarchy1"/>
    <dgm:cxn modelId="{90F59187-6937-4E34-85B2-BD695605C029}" type="presParOf" srcId="{7D789261-950B-4982-AB3F-1A6C7A76E5DF}" destId="{1AFB4ED5-98B8-4691-A0E2-3A1B46A3A5D5}" srcOrd="1" destOrd="0" presId="urn:microsoft.com/office/officeart/2005/8/layout/hierarchy1"/>
    <dgm:cxn modelId="{449A0952-5E74-41F4-8705-7C8EBD9689F5}" type="presParOf" srcId="{1AFB4ED5-98B8-4691-A0E2-3A1B46A3A5D5}" destId="{C629470D-F121-43F8-AC0C-6488AD9E2601}" srcOrd="0" destOrd="0" presId="urn:microsoft.com/office/officeart/2005/8/layout/hierarchy1"/>
    <dgm:cxn modelId="{DB546440-6DAD-432A-AF3C-403D27FACDFA}" type="presParOf" srcId="{C629470D-F121-43F8-AC0C-6488AD9E2601}" destId="{81DF1BC2-1233-4FF3-9386-DB043FC94156}" srcOrd="0" destOrd="0" presId="urn:microsoft.com/office/officeart/2005/8/layout/hierarchy1"/>
    <dgm:cxn modelId="{164A06F0-B03A-49F7-83A1-75E2B0AB3009}" type="presParOf" srcId="{C629470D-F121-43F8-AC0C-6488AD9E2601}" destId="{0057AEE3-08B9-4FA4-88AA-913E747F302B}" srcOrd="1" destOrd="0" presId="urn:microsoft.com/office/officeart/2005/8/layout/hierarchy1"/>
    <dgm:cxn modelId="{76CAED01-AFF2-420F-9EC6-551B2A0CCBEF}" type="presParOf" srcId="{1AFB4ED5-98B8-4691-A0E2-3A1B46A3A5D5}" destId="{7050CB46-51A6-49BE-BD93-D3B4307B561D}" srcOrd="1" destOrd="0" presId="urn:microsoft.com/office/officeart/2005/8/layout/hierarchy1"/>
    <dgm:cxn modelId="{15FC67A2-FBEF-4705-8151-C855D1E185D0}" type="presParOf" srcId="{7050CB46-51A6-49BE-BD93-D3B4307B561D}" destId="{49A4E5D9-3915-4D37-A333-6B39CFA063AD}" srcOrd="0" destOrd="0" presId="urn:microsoft.com/office/officeart/2005/8/layout/hierarchy1"/>
    <dgm:cxn modelId="{A9E42FDD-9A16-4BBC-B240-10AB6BE135A8}" type="presParOf" srcId="{7050CB46-51A6-49BE-BD93-D3B4307B561D}" destId="{2D608A2B-3C37-4744-97B5-1158EF0E3DB5}" srcOrd="1" destOrd="0" presId="urn:microsoft.com/office/officeart/2005/8/layout/hierarchy1"/>
    <dgm:cxn modelId="{258EB33C-8F9B-495D-BA78-63F9FE80AAB5}" type="presParOf" srcId="{2D608A2B-3C37-4744-97B5-1158EF0E3DB5}" destId="{C2D9DE37-8380-440C-BD52-D2A57421A591}" srcOrd="0" destOrd="0" presId="urn:microsoft.com/office/officeart/2005/8/layout/hierarchy1"/>
    <dgm:cxn modelId="{53703ADE-4E59-447F-B53C-746D7171D849}" type="presParOf" srcId="{C2D9DE37-8380-440C-BD52-D2A57421A591}" destId="{4C4CBCA5-BEDC-4039-8C47-7E4AD4B222FA}" srcOrd="0" destOrd="0" presId="urn:microsoft.com/office/officeart/2005/8/layout/hierarchy1"/>
    <dgm:cxn modelId="{274E4707-D2E9-4F37-ADBB-BBD2BAEDE15B}" type="presParOf" srcId="{C2D9DE37-8380-440C-BD52-D2A57421A591}" destId="{DB6A9FDE-426B-4370-8A76-77F198984D43}" srcOrd="1" destOrd="0" presId="urn:microsoft.com/office/officeart/2005/8/layout/hierarchy1"/>
    <dgm:cxn modelId="{A45929BA-D1AD-4285-BE97-97D2D7E8B7E8}" type="presParOf" srcId="{2D608A2B-3C37-4744-97B5-1158EF0E3DB5}" destId="{0584F4CC-DC4D-4FA1-9894-E521682AAC71}" srcOrd="1" destOrd="0" presId="urn:microsoft.com/office/officeart/2005/8/layout/hierarchy1"/>
    <dgm:cxn modelId="{4D2123D7-27E4-4AC1-B6E0-749E973C43D9}" type="presParOf" srcId="{0584F4CC-DC4D-4FA1-9894-E521682AAC71}" destId="{E1A2B616-FDE0-44CE-AA9E-0C957223AA0C}" srcOrd="0" destOrd="0" presId="urn:microsoft.com/office/officeart/2005/8/layout/hierarchy1"/>
    <dgm:cxn modelId="{B508FEF9-8714-4A0C-B985-6D4F6EA3552F}" type="presParOf" srcId="{0584F4CC-DC4D-4FA1-9894-E521682AAC71}" destId="{392D5BBF-5BF3-4B52-BFFB-C8DB141F5656}" srcOrd="1" destOrd="0" presId="urn:microsoft.com/office/officeart/2005/8/layout/hierarchy1"/>
    <dgm:cxn modelId="{6388DB3D-D12A-4346-B728-BBDE18B6B642}" type="presParOf" srcId="{392D5BBF-5BF3-4B52-BFFB-C8DB141F5656}" destId="{D73BDB8C-ABD4-4524-8C96-941FEF6F885F}" srcOrd="0" destOrd="0" presId="urn:microsoft.com/office/officeart/2005/8/layout/hierarchy1"/>
    <dgm:cxn modelId="{7A0E0E4F-DB3D-40B6-9FB9-655F0D3C970E}" type="presParOf" srcId="{D73BDB8C-ABD4-4524-8C96-941FEF6F885F}" destId="{38E8A307-4C46-4739-A5D2-F35418A2EDD7}" srcOrd="0" destOrd="0" presId="urn:microsoft.com/office/officeart/2005/8/layout/hierarchy1"/>
    <dgm:cxn modelId="{4741EC95-90B4-43F6-A17B-B582D903CCEA}" type="presParOf" srcId="{D73BDB8C-ABD4-4524-8C96-941FEF6F885F}" destId="{8DE9CC1A-6987-45EE-A16D-4CCD456337F4}" srcOrd="1" destOrd="0" presId="urn:microsoft.com/office/officeart/2005/8/layout/hierarchy1"/>
    <dgm:cxn modelId="{73D1BE65-DF54-45FD-9E79-C806D2C889EA}" type="presParOf" srcId="{392D5BBF-5BF3-4B52-BFFB-C8DB141F5656}" destId="{017DE4BC-9BFB-4DD2-9366-4D391850E6E1}"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07C4F59-3710-4B4B-AA8B-BA676D528335}" type="doc">
      <dgm:prSet loTypeId="urn:microsoft.com/office/officeart/2005/8/layout/vProcess5" loCatId="process" qsTypeId="urn:microsoft.com/office/officeart/2005/8/quickstyle/simple1" qsCatId="simple" csTypeId="urn:microsoft.com/office/officeart/2005/8/colors/accent5_1" csCatId="accent5" phldr="1"/>
      <dgm:spPr/>
      <dgm:t>
        <a:bodyPr/>
        <a:lstStyle/>
        <a:p>
          <a:endParaRPr lang="en-US"/>
        </a:p>
      </dgm:t>
    </dgm:pt>
    <dgm:pt modelId="{8B9CB9AC-D933-482C-8226-402AB7F6BDA9}">
      <dgm:prSet phldrT="[Text]" custT="1"/>
      <dgm:spPr/>
      <dgm:t>
        <a:bodyPr/>
        <a:lstStyle/>
        <a:p>
          <a:r>
            <a:rPr lang="en-US" sz="1800" dirty="0" smtClean="0"/>
            <a:t>Install mongodb on windows from the link given below:</a:t>
          </a:r>
          <a:endParaRPr lang="en-US" sz="1800" dirty="0"/>
        </a:p>
      </dgm:t>
    </dgm:pt>
    <dgm:pt modelId="{358ABD97-7EAE-4178-98B8-4ABEF34F14A1}" type="parTrans" cxnId="{BCF6BC48-8481-40D4-A7A4-0AF941336829}">
      <dgm:prSet/>
      <dgm:spPr/>
      <dgm:t>
        <a:bodyPr/>
        <a:lstStyle/>
        <a:p>
          <a:endParaRPr lang="en-US" sz="1800"/>
        </a:p>
      </dgm:t>
    </dgm:pt>
    <dgm:pt modelId="{37E07E40-E118-4382-B82B-DF25F1910BF9}" type="sibTrans" cxnId="{BCF6BC48-8481-40D4-A7A4-0AF941336829}">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43365DE0-5D5D-423B-AADF-61D1346DE718}">
      <dgm:prSet phldrT="[Text]" custT="1"/>
      <dgm:spPr/>
      <dgm:t>
        <a:bodyPr/>
        <a:lstStyle/>
        <a:p>
          <a:r>
            <a:rPr lang="en-US" sz="1800" b="1" dirty="0" smtClean="0"/>
            <a:t>http://www.mongodb.org/downloads</a:t>
          </a:r>
          <a:endParaRPr lang="en-US" sz="1800" dirty="0"/>
        </a:p>
      </dgm:t>
    </dgm:pt>
    <dgm:pt modelId="{04FDA03A-E0DD-409C-9765-3BB485744678}" type="parTrans" cxnId="{F58477AC-EF21-4048-AE01-4840F24210EF}">
      <dgm:prSet/>
      <dgm:spPr/>
      <dgm:t>
        <a:bodyPr/>
        <a:lstStyle/>
        <a:p>
          <a:endParaRPr lang="en-US" sz="1800"/>
        </a:p>
      </dgm:t>
    </dgm:pt>
    <dgm:pt modelId="{B34B6B5A-B050-40A3-9480-E96FB216EBF9}" type="sibTrans" cxnId="{F58477AC-EF21-4048-AE01-4840F24210EF}">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34C7557F-C152-4975-B067-5690CE5F50DE}">
      <dgm:prSet phldrT="[Text]" custT="1"/>
      <dgm:spPr/>
      <dgm:t>
        <a:bodyPr/>
        <a:lstStyle/>
        <a:p>
          <a:r>
            <a:rPr lang="en-US" sz="1800" dirty="0" smtClean="0"/>
            <a:t>Make sure you get correct version of MongoDB depending upon your windows version. </a:t>
          </a:r>
          <a:endParaRPr lang="en-US" sz="1800" dirty="0"/>
        </a:p>
      </dgm:t>
    </dgm:pt>
    <dgm:pt modelId="{27B23A3E-0C15-43B5-885F-1A184738C75D}" type="parTrans" cxnId="{037F7BE9-3EEC-4891-A66D-C0F09DB4C812}">
      <dgm:prSet/>
      <dgm:spPr/>
      <dgm:t>
        <a:bodyPr/>
        <a:lstStyle/>
        <a:p>
          <a:endParaRPr lang="en-US" sz="1800"/>
        </a:p>
      </dgm:t>
    </dgm:pt>
    <dgm:pt modelId="{C5A99863-349E-4BE2-8CAA-A1654F3630BA}" type="sibTrans" cxnId="{037F7BE9-3EEC-4891-A66D-C0F09DB4C812}">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39FBBF70-10A3-4FCC-8EA3-A9EA0D2E981C}">
      <dgm:prSet phldrT="[Text]" custT="1"/>
      <dgm:spPr/>
      <dgm:t>
        <a:bodyPr/>
        <a:lstStyle/>
        <a:p>
          <a:r>
            <a:rPr lang="en-US" sz="1800" b="1" dirty="0" smtClean="0"/>
            <a:t>MongoDB for Windows 64-bit</a:t>
          </a:r>
          <a:r>
            <a:rPr lang="en-US" sz="1800" dirty="0" smtClean="0"/>
            <a:t>: This build type of MongoDB runs on any 64-bit version of Windows latest than Windows XP, involve Windows Server 2008 R2 and Windows 7 64-bit.</a:t>
          </a:r>
          <a:endParaRPr lang="en-US" sz="1800" dirty="0"/>
        </a:p>
      </dgm:t>
    </dgm:pt>
    <dgm:pt modelId="{54B5B2E0-6CAA-4639-88D3-0ADA91A05358}" type="parTrans" cxnId="{5AFA38F6-9CD0-4ADF-9025-E338BDCA3024}">
      <dgm:prSet/>
      <dgm:spPr/>
      <dgm:t>
        <a:bodyPr/>
        <a:lstStyle/>
        <a:p>
          <a:endParaRPr lang="en-US" sz="1800"/>
        </a:p>
      </dgm:t>
    </dgm:pt>
    <dgm:pt modelId="{5A9778C7-9AAD-4D59-8FAB-213594D704C5}" type="sibTrans" cxnId="{5AFA38F6-9CD0-4ADF-9025-E338BDCA3024}">
      <dgm:prSet/>
      <dgm:spPr/>
      <dgm:t>
        <a:bodyPr/>
        <a:lstStyle/>
        <a:p>
          <a:endParaRPr lang="en-US" sz="1800"/>
        </a:p>
      </dgm:t>
    </dgm:pt>
    <dgm:pt modelId="{F073830F-B6DD-4FDE-B422-7A067A64F7A7}" type="pres">
      <dgm:prSet presAssocID="{D07C4F59-3710-4B4B-AA8B-BA676D528335}" presName="outerComposite" presStyleCnt="0">
        <dgm:presLayoutVars>
          <dgm:chMax val="5"/>
          <dgm:dir/>
          <dgm:resizeHandles val="exact"/>
        </dgm:presLayoutVars>
      </dgm:prSet>
      <dgm:spPr/>
      <dgm:t>
        <a:bodyPr/>
        <a:lstStyle/>
        <a:p>
          <a:endParaRPr lang="en-US"/>
        </a:p>
      </dgm:t>
    </dgm:pt>
    <dgm:pt modelId="{A312F1E0-EF82-4BBD-B2BF-9ADA9AF4823E}" type="pres">
      <dgm:prSet presAssocID="{D07C4F59-3710-4B4B-AA8B-BA676D528335}" presName="dummyMaxCanvas" presStyleCnt="0">
        <dgm:presLayoutVars/>
      </dgm:prSet>
      <dgm:spPr/>
    </dgm:pt>
    <dgm:pt modelId="{40AE39F6-7834-40F1-8CB0-CA678004649F}" type="pres">
      <dgm:prSet presAssocID="{D07C4F59-3710-4B4B-AA8B-BA676D528335}" presName="FourNodes_1" presStyleLbl="node1" presStyleIdx="0" presStyleCnt="4">
        <dgm:presLayoutVars>
          <dgm:bulletEnabled val="1"/>
        </dgm:presLayoutVars>
      </dgm:prSet>
      <dgm:spPr/>
      <dgm:t>
        <a:bodyPr/>
        <a:lstStyle/>
        <a:p>
          <a:endParaRPr lang="en-US"/>
        </a:p>
      </dgm:t>
    </dgm:pt>
    <dgm:pt modelId="{1AEC0A07-43BB-496C-902E-DFC9D511A80D}" type="pres">
      <dgm:prSet presAssocID="{D07C4F59-3710-4B4B-AA8B-BA676D528335}" presName="FourNodes_2" presStyleLbl="node1" presStyleIdx="1" presStyleCnt="4">
        <dgm:presLayoutVars>
          <dgm:bulletEnabled val="1"/>
        </dgm:presLayoutVars>
      </dgm:prSet>
      <dgm:spPr/>
      <dgm:t>
        <a:bodyPr/>
        <a:lstStyle/>
        <a:p>
          <a:endParaRPr lang="en-US"/>
        </a:p>
      </dgm:t>
    </dgm:pt>
    <dgm:pt modelId="{F6202937-878C-4447-AD49-223CBED3C0D3}" type="pres">
      <dgm:prSet presAssocID="{D07C4F59-3710-4B4B-AA8B-BA676D528335}" presName="FourNodes_3" presStyleLbl="node1" presStyleIdx="2" presStyleCnt="4">
        <dgm:presLayoutVars>
          <dgm:bulletEnabled val="1"/>
        </dgm:presLayoutVars>
      </dgm:prSet>
      <dgm:spPr/>
      <dgm:t>
        <a:bodyPr/>
        <a:lstStyle/>
        <a:p>
          <a:endParaRPr lang="en-US"/>
        </a:p>
      </dgm:t>
    </dgm:pt>
    <dgm:pt modelId="{C8ABEC40-D59E-444A-A720-A55DD031E53A}" type="pres">
      <dgm:prSet presAssocID="{D07C4F59-3710-4B4B-AA8B-BA676D528335}" presName="FourNodes_4" presStyleLbl="node1" presStyleIdx="3" presStyleCnt="4" custScaleY="114895">
        <dgm:presLayoutVars>
          <dgm:bulletEnabled val="1"/>
        </dgm:presLayoutVars>
      </dgm:prSet>
      <dgm:spPr/>
      <dgm:t>
        <a:bodyPr/>
        <a:lstStyle/>
        <a:p>
          <a:endParaRPr lang="en-US"/>
        </a:p>
      </dgm:t>
    </dgm:pt>
    <dgm:pt modelId="{53FD85E5-2C27-4C5F-A673-39C7D846A1F7}" type="pres">
      <dgm:prSet presAssocID="{D07C4F59-3710-4B4B-AA8B-BA676D528335}" presName="FourConn_1-2" presStyleLbl="fgAccFollowNode1" presStyleIdx="0" presStyleCnt="3">
        <dgm:presLayoutVars>
          <dgm:bulletEnabled val="1"/>
        </dgm:presLayoutVars>
      </dgm:prSet>
      <dgm:spPr/>
      <dgm:t>
        <a:bodyPr/>
        <a:lstStyle/>
        <a:p>
          <a:endParaRPr lang="en-US"/>
        </a:p>
      </dgm:t>
    </dgm:pt>
    <dgm:pt modelId="{49F4C822-5CF6-4C72-8246-075CF8C009A9}" type="pres">
      <dgm:prSet presAssocID="{D07C4F59-3710-4B4B-AA8B-BA676D528335}" presName="FourConn_2-3" presStyleLbl="fgAccFollowNode1" presStyleIdx="1" presStyleCnt="3">
        <dgm:presLayoutVars>
          <dgm:bulletEnabled val="1"/>
        </dgm:presLayoutVars>
      </dgm:prSet>
      <dgm:spPr/>
      <dgm:t>
        <a:bodyPr/>
        <a:lstStyle/>
        <a:p>
          <a:endParaRPr lang="en-US"/>
        </a:p>
      </dgm:t>
    </dgm:pt>
    <dgm:pt modelId="{F0B0FB72-7737-4062-B834-EDD1C6815981}" type="pres">
      <dgm:prSet presAssocID="{D07C4F59-3710-4B4B-AA8B-BA676D528335}" presName="FourConn_3-4" presStyleLbl="fgAccFollowNode1" presStyleIdx="2" presStyleCnt="3">
        <dgm:presLayoutVars>
          <dgm:bulletEnabled val="1"/>
        </dgm:presLayoutVars>
      </dgm:prSet>
      <dgm:spPr/>
      <dgm:t>
        <a:bodyPr/>
        <a:lstStyle/>
        <a:p>
          <a:endParaRPr lang="en-US"/>
        </a:p>
      </dgm:t>
    </dgm:pt>
    <dgm:pt modelId="{E7E35CA2-2888-41BE-A72E-B239DB988BA4}" type="pres">
      <dgm:prSet presAssocID="{D07C4F59-3710-4B4B-AA8B-BA676D528335}" presName="FourNodes_1_text" presStyleLbl="node1" presStyleIdx="3" presStyleCnt="4">
        <dgm:presLayoutVars>
          <dgm:bulletEnabled val="1"/>
        </dgm:presLayoutVars>
      </dgm:prSet>
      <dgm:spPr/>
      <dgm:t>
        <a:bodyPr/>
        <a:lstStyle/>
        <a:p>
          <a:endParaRPr lang="en-US"/>
        </a:p>
      </dgm:t>
    </dgm:pt>
    <dgm:pt modelId="{9E9A215E-3DD1-4B5E-AEBD-EFCEA4FD2EA0}" type="pres">
      <dgm:prSet presAssocID="{D07C4F59-3710-4B4B-AA8B-BA676D528335}" presName="FourNodes_2_text" presStyleLbl="node1" presStyleIdx="3" presStyleCnt="4">
        <dgm:presLayoutVars>
          <dgm:bulletEnabled val="1"/>
        </dgm:presLayoutVars>
      </dgm:prSet>
      <dgm:spPr/>
      <dgm:t>
        <a:bodyPr/>
        <a:lstStyle/>
        <a:p>
          <a:endParaRPr lang="en-US"/>
        </a:p>
      </dgm:t>
    </dgm:pt>
    <dgm:pt modelId="{8466E26C-2014-4D98-9801-3F4B86927284}" type="pres">
      <dgm:prSet presAssocID="{D07C4F59-3710-4B4B-AA8B-BA676D528335}" presName="FourNodes_3_text" presStyleLbl="node1" presStyleIdx="3" presStyleCnt="4">
        <dgm:presLayoutVars>
          <dgm:bulletEnabled val="1"/>
        </dgm:presLayoutVars>
      </dgm:prSet>
      <dgm:spPr/>
      <dgm:t>
        <a:bodyPr/>
        <a:lstStyle/>
        <a:p>
          <a:endParaRPr lang="en-US"/>
        </a:p>
      </dgm:t>
    </dgm:pt>
    <dgm:pt modelId="{EFAADC0F-4E8E-4628-914B-5B9150D4CD44}" type="pres">
      <dgm:prSet presAssocID="{D07C4F59-3710-4B4B-AA8B-BA676D528335}" presName="FourNodes_4_text" presStyleLbl="node1" presStyleIdx="3" presStyleCnt="4">
        <dgm:presLayoutVars>
          <dgm:bulletEnabled val="1"/>
        </dgm:presLayoutVars>
      </dgm:prSet>
      <dgm:spPr/>
      <dgm:t>
        <a:bodyPr/>
        <a:lstStyle/>
        <a:p>
          <a:endParaRPr lang="en-US"/>
        </a:p>
      </dgm:t>
    </dgm:pt>
  </dgm:ptLst>
  <dgm:cxnLst>
    <dgm:cxn modelId="{F58477AC-EF21-4048-AE01-4840F24210EF}" srcId="{D07C4F59-3710-4B4B-AA8B-BA676D528335}" destId="{43365DE0-5D5D-423B-AADF-61D1346DE718}" srcOrd="1" destOrd="0" parTransId="{04FDA03A-E0DD-409C-9765-3BB485744678}" sibTransId="{B34B6B5A-B050-40A3-9480-E96FB216EBF9}"/>
    <dgm:cxn modelId="{D2B6BFB7-5718-4BDB-9E93-CAC49957917C}" type="presOf" srcId="{8B9CB9AC-D933-482C-8226-402AB7F6BDA9}" destId="{E7E35CA2-2888-41BE-A72E-B239DB988BA4}" srcOrd="1" destOrd="0" presId="urn:microsoft.com/office/officeart/2005/8/layout/vProcess5"/>
    <dgm:cxn modelId="{A4FE316B-A0B6-40C3-914D-7EEF47D1084F}" type="presOf" srcId="{D07C4F59-3710-4B4B-AA8B-BA676D528335}" destId="{F073830F-B6DD-4FDE-B422-7A067A64F7A7}" srcOrd="0" destOrd="0" presId="urn:microsoft.com/office/officeart/2005/8/layout/vProcess5"/>
    <dgm:cxn modelId="{6B8A1D76-B61D-45DC-9B6D-2438ADE6D5E5}" type="presOf" srcId="{39FBBF70-10A3-4FCC-8EA3-A9EA0D2E981C}" destId="{EFAADC0F-4E8E-4628-914B-5B9150D4CD44}" srcOrd="1" destOrd="0" presId="urn:microsoft.com/office/officeart/2005/8/layout/vProcess5"/>
    <dgm:cxn modelId="{D4653049-73E9-4D1F-96DA-76FA18A0F590}" type="presOf" srcId="{43365DE0-5D5D-423B-AADF-61D1346DE718}" destId="{9E9A215E-3DD1-4B5E-AEBD-EFCEA4FD2EA0}" srcOrd="1" destOrd="0" presId="urn:microsoft.com/office/officeart/2005/8/layout/vProcess5"/>
    <dgm:cxn modelId="{BE74EB7E-40D0-40FB-A45D-8D15AED83C14}" type="presOf" srcId="{37E07E40-E118-4382-B82B-DF25F1910BF9}" destId="{53FD85E5-2C27-4C5F-A673-39C7D846A1F7}" srcOrd="0" destOrd="0" presId="urn:microsoft.com/office/officeart/2005/8/layout/vProcess5"/>
    <dgm:cxn modelId="{5AFA38F6-9CD0-4ADF-9025-E338BDCA3024}" srcId="{D07C4F59-3710-4B4B-AA8B-BA676D528335}" destId="{39FBBF70-10A3-4FCC-8EA3-A9EA0D2E981C}" srcOrd="3" destOrd="0" parTransId="{54B5B2E0-6CAA-4639-88D3-0ADA91A05358}" sibTransId="{5A9778C7-9AAD-4D59-8FAB-213594D704C5}"/>
    <dgm:cxn modelId="{4502E1CD-88ED-4BDF-9B50-8398C9446ED5}" type="presOf" srcId="{34C7557F-C152-4975-B067-5690CE5F50DE}" destId="{8466E26C-2014-4D98-9801-3F4B86927284}" srcOrd="1" destOrd="0" presId="urn:microsoft.com/office/officeart/2005/8/layout/vProcess5"/>
    <dgm:cxn modelId="{92B9523E-7D21-4CEF-9F37-932F01D9F3AD}" type="presOf" srcId="{39FBBF70-10A3-4FCC-8EA3-A9EA0D2E981C}" destId="{C8ABEC40-D59E-444A-A720-A55DD031E53A}" srcOrd="0" destOrd="0" presId="urn:microsoft.com/office/officeart/2005/8/layout/vProcess5"/>
    <dgm:cxn modelId="{2777DC87-DD9D-475F-B7BD-9DF147D13555}" type="presOf" srcId="{8B9CB9AC-D933-482C-8226-402AB7F6BDA9}" destId="{40AE39F6-7834-40F1-8CB0-CA678004649F}" srcOrd="0" destOrd="0" presId="urn:microsoft.com/office/officeart/2005/8/layout/vProcess5"/>
    <dgm:cxn modelId="{C34B2B86-EDC5-4DDD-8FE2-0330BECA758E}" type="presOf" srcId="{34C7557F-C152-4975-B067-5690CE5F50DE}" destId="{F6202937-878C-4447-AD49-223CBED3C0D3}" srcOrd="0" destOrd="0" presId="urn:microsoft.com/office/officeart/2005/8/layout/vProcess5"/>
    <dgm:cxn modelId="{BCF6BC48-8481-40D4-A7A4-0AF941336829}" srcId="{D07C4F59-3710-4B4B-AA8B-BA676D528335}" destId="{8B9CB9AC-D933-482C-8226-402AB7F6BDA9}" srcOrd="0" destOrd="0" parTransId="{358ABD97-7EAE-4178-98B8-4ABEF34F14A1}" sibTransId="{37E07E40-E118-4382-B82B-DF25F1910BF9}"/>
    <dgm:cxn modelId="{C0C359C5-AA8F-42D5-872A-E603AE380781}" type="presOf" srcId="{43365DE0-5D5D-423B-AADF-61D1346DE718}" destId="{1AEC0A07-43BB-496C-902E-DFC9D511A80D}" srcOrd="0" destOrd="0" presId="urn:microsoft.com/office/officeart/2005/8/layout/vProcess5"/>
    <dgm:cxn modelId="{360EE2B3-C7F2-444F-BFE7-BD6BEF680AD1}" type="presOf" srcId="{B34B6B5A-B050-40A3-9480-E96FB216EBF9}" destId="{49F4C822-5CF6-4C72-8246-075CF8C009A9}" srcOrd="0" destOrd="0" presId="urn:microsoft.com/office/officeart/2005/8/layout/vProcess5"/>
    <dgm:cxn modelId="{8D617BFC-9A26-4212-B97A-EE4C197E97F6}" type="presOf" srcId="{C5A99863-349E-4BE2-8CAA-A1654F3630BA}" destId="{F0B0FB72-7737-4062-B834-EDD1C6815981}" srcOrd="0" destOrd="0" presId="urn:microsoft.com/office/officeart/2005/8/layout/vProcess5"/>
    <dgm:cxn modelId="{037F7BE9-3EEC-4891-A66D-C0F09DB4C812}" srcId="{D07C4F59-3710-4B4B-AA8B-BA676D528335}" destId="{34C7557F-C152-4975-B067-5690CE5F50DE}" srcOrd="2" destOrd="0" parTransId="{27B23A3E-0C15-43B5-885F-1A184738C75D}" sibTransId="{C5A99863-349E-4BE2-8CAA-A1654F3630BA}"/>
    <dgm:cxn modelId="{8855865A-7417-4F7B-8130-7FC9873569F0}" type="presParOf" srcId="{F073830F-B6DD-4FDE-B422-7A067A64F7A7}" destId="{A312F1E0-EF82-4BBD-B2BF-9ADA9AF4823E}" srcOrd="0" destOrd="0" presId="urn:microsoft.com/office/officeart/2005/8/layout/vProcess5"/>
    <dgm:cxn modelId="{85B04B2B-67AC-4FCF-A076-4887CB083A12}" type="presParOf" srcId="{F073830F-B6DD-4FDE-B422-7A067A64F7A7}" destId="{40AE39F6-7834-40F1-8CB0-CA678004649F}" srcOrd="1" destOrd="0" presId="urn:microsoft.com/office/officeart/2005/8/layout/vProcess5"/>
    <dgm:cxn modelId="{CE547B55-E6FC-4AD2-9315-29A9B4F785C0}" type="presParOf" srcId="{F073830F-B6DD-4FDE-B422-7A067A64F7A7}" destId="{1AEC0A07-43BB-496C-902E-DFC9D511A80D}" srcOrd="2" destOrd="0" presId="urn:microsoft.com/office/officeart/2005/8/layout/vProcess5"/>
    <dgm:cxn modelId="{CA183CAD-DDA1-4951-A288-31040DF239FA}" type="presParOf" srcId="{F073830F-B6DD-4FDE-B422-7A067A64F7A7}" destId="{F6202937-878C-4447-AD49-223CBED3C0D3}" srcOrd="3" destOrd="0" presId="urn:microsoft.com/office/officeart/2005/8/layout/vProcess5"/>
    <dgm:cxn modelId="{AE69994B-D020-4CE0-90C3-529FCFCEE1DD}" type="presParOf" srcId="{F073830F-B6DD-4FDE-B422-7A067A64F7A7}" destId="{C8ABEC40-D59E-444A-A720-A55DD031E53A}" srcOrd="4" destOrd="0" presId="urn:microsoft.com/office/officeart/2005/8/layout/vProcess5"/>
    <dgm:cxn modelId="{F1252EBF-D307-4BDB-A6C5-4E0C12ED3DA8}" type="presParOf" srcId="{F073830F-B6DD-4FDE-B422-7A067A64F7A7}" destId="{53FD85E5-2C27-4C5F-A673-39C7D846A1F7}" srcOrd="5" destOrd="0" presId="urn:microsoft.com/office/officeart/2005/8/layout/vProcess5"/>
    <dgm:cxn modelId="{5722DB2C-F300-46D9-A684-75EC1BCD36F5}" type="presParOf" srcId="{F073830F-B6DD-4FDE-B422-7A067A64F7A7}" destId="{49F4C822-5CF6-4C72-8246-075CF8C009A9}" srcOrd="6" destOrd="0" presId="urn:microsoft.com/office/officeart/2005/8/layout/vProcess5"/>
    <dgm:cxn modelId="{16508286-8EDA-4F80-A5B7-2087DD636EF2}" type="presParOf" srcId="{F073830F-B6DD-4FDE-B422-7A067A64F7A7}" destId="{F0B0FB72-7737-4062-B834-EDD1C6815981}" srcOrd="7" destOrd="0" presId="urn:microsoft.com/office/officeart/2005/8/layout/vProcess5"/>
    <dgm:cxn modelId="{94A12A1B-3A96-4B72-B7D9-2FAB6B72A8C2}" type="presParOf" srcId="{F073830F-B6DD-4FDE-B422-7A067A64F7A7}" destId="{E7E35CA2-2888-41BE-A72E-B239DB988BA4}" srcOrd="8" destOrd="0" presId="urn:microsoft.com/office/officeart/2005/8/layout/vProcess5"/>
    <dgm:cxn modelId="{D63669AC-F62F-4E41-8D5A-38DE7865E593}" type="presParOf" srcId="{F073830F-B6DD-4FDE-B422-7A067A64F7A7}" destId="{9E9A215E-3DD1-4B5E-AEBD-EFCEA4FD2EA0}" srcOrd="9" destOrd="0" presId="urn:microsoft.com/office/officeart/2005/8/layout/vProcess5"/>
    <dgm:cxn modelId="{6052FCE6-4B32-47BA-8DDF-2F2E860921DA}" type="presParOf" srcId="{F073830F-B6DD-4FDE-B422-7A067A64F7A7}" destId="{8466E26C-2014-4D98-9801-3F4B86927284}" srcOrd="10" destOrd="0" presId="urn:microsoft.com/office/officeart/2005/8/layout/vProcess5"/>
    <dgm:cxn modelId="{BCAB6A8C-A36C-417B-B70D-B927D53A5D2D}" type="presParOf" srcId="{F073830F-B6DD-4FDE-B422-7A067A64F7A7}" destId="{EFAADC0F-4E8E-4628-914B-5B9150D4CD44}" srcOrd="11" destOrd="0" presId="urn:microsoft.com/office/officeart/2005/8/layout/vProcess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76E9C56-E23F-493B-B13B-F41A1136765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A41AB1B-8E4C-4FC4-8089-E6C562991736}">
      <dgm:prSet phldrT="[Text]" custT="1"/>
      <dgm:spPr/>
      <dgm:t>
        <a:bodyPr/>
        <a:lstStyle/>
        <a:p>
          <a:r>
            <a:rPr lang="en-US" sz="2000" dirty="0" smtClean="0"/>
            <a:t>MongoDB is a server process that runs on Windows/Linux , Os X. </a:t>
          </a:r>
          <a:endParaRPr lang="en-US" sz="2000" dirty="0"/>
        </a:p>
      </dgm:t>
    </dgm:pt>
    <dgm:pt modelId="{0A880202-B4A2-49E7-902F-13A97F4E9DD6}" type="parTrans" cxnId="{A953665A-540C-4A72-89B0-24D20AA91790}">
      <dgm:prSet/>
      <dgm:spPr/>
      <dgm:t>
        <a:bodyPr/>
        <a:lstStyle/>
        <a:p>
          <a:endParaRPr lang="en-US" sz="2000"/>
        </a:p>
      </dgm:t>
    </dgm:pt>
    <dgm:pt modelId="{C2D135B0-B900-4632-99B1-8467E3868BCB}" type="sibTrans" cxnId="{A953665A-540C-4A72-89B0-24D20AA91790}">
      <dgm:prSet/>
      <dgm:spPr/>
      <dgm:t>
        <a:bodyPr/>
        <a:lstStyle/>
        <a:p>
          <a:endParaRPr lang="en-US" sz="2000"/>
        </a:p>
      </dgm:t>
    </dgm:pt>
    <dgm:pt modelId="{CA527903-99A1-4FE1-A202-595A905581BD}">
      <dgm:prSet phldrT="[Text]" custT="1"/>
      <dgm:spPr/>
      <dgm:t>
        <a:bodyPr/>
        <a:lstStyle/>
        <a:p>
          <a:r>
            <a:rPr lang="en-US" sz="2000" dirty="0" smtClean="0"/>
            <a:t>It can be run both as a 32 or 64-bit application. We recommend running in 64-bit mode, since Mongo is limited to a total data size of about 2GB for all databases in 32-bit mode. </a:t>
          </a:r>
          <a:endParaRPr lang="en-US" sz="2000" dirty="0"/>
        </a:p>
      </dgm:t>
    </dgm:pt>
    <dgm:pt modelId="{1BBC7FD1-B1FC-47E3-929C-6BF4BB3BC54D}" type="parTrans" cxnId="{9DF9C0B6-DEEB-4EFB-999D-482EA5A04E03}">
      <dgm:prSet/>
      <dgm:spPr/>
      <dgm:t>
        <a:bodyPr/>
        <a:lstStyle/>
        <a:p>
          <a:endParaRPr lang="en-US" sz="2000"/>
        </a:p>
      </dgm:t>
    </dgm:pt>
    <dgm:pt modelId="{710CBF8D-3896-40C1-9202-8365F0C8E071}" type="sibTrans" cxnId="{9DF9C0B6-DEEB-4EFB-999D-482EA5A04E03}">
      <dgm:prSet/>
      <dgm:spPr/>
      <dgm:t>
        <a:bodyPr/>
        <a:lstStyle/>
        <a:p>
          <a:endParaRPr lang="en-US" sz="2000"/>
        </a:p>
      </dgm:t>
    </dgm:pt>
    <dgm:pt modelId="{583D8F60-924A-40C6-AE01-757095760908}">
      <dgm:prSet phldrT="[Text]" custT="1"/>
      <dgm:spPr/>
      <dgm:t>
        <a:bodyPr/>
        <a:lstStyle/>
        <a:p>
          <a:r>
            <a:rPr lang="en-US" sz="2000" dirty="0" smtClean="0"/>
            <a:t>Clients connect to the MongoDB process, optionally authenticate themselves if security is turned on, and perform a sequence of actions, such as inserts, queries and updates.</a:t>
          </a:r>
          <a:endParaRPr lang="en-US" sz="2000" dirty="0"/>
        </a:p>
      </dgm:t>
    </dgm:pt>
    <dgm:pt modelId="{3CE7A607-053D-4E70-98B8-59F9ADE4C6C9}" type="parTrans" cxnId="{8370FE9C-805F-4728-BC03-7248A186D411}">
      <dgm:prSet/>
      <dgm:spPr/>
      <dgm:t>
        <a:bodyPr/>
        <a:lstStyle/>
        <a:p>
          <a:endParaRPr lang="en-US" sz="2000"/>
        </a:p>
      </dgm:t>
    </dgm:pt>
    <dgm:pt modelId="{69239B91-7F3A-4F68-AFDF-E28B080B6AB7}" type="sibTrans" cxnId="{8370FE9C-805F-4728-BC03-7248A186D411}">
      <dgm:prSet/>
      <dgm:spPr/>
      <dgm:t>
        <a:bodyPr/>
        <a:lstStyle/>
        <a:p>
          <a:endParaRPr lang="en-US" sz="2000"/>
        </a:p>
      </dgm:t>
    </dgm:pt>
    <dgm:pt modelId="{F9D78B2A-1E90-42D3-9C15-4340E2A80949}" type="pres">
      <dgm:prSet presAssocID="{E76E9C56-E23F-493B-B13B-F41A11367652}" presName="linear" presStyleCnt="0">
        <dgm:presLayoutVars>
          <dgm:animLvl val="lvl"/>
          <dgm:resizeHandles val="exact"/>
        </dgm:presLayoutVars>
      </dgm:prSet>
      <dgm:spPr/>
      <dgm:t>
        <a:bodyPr/>
        <a:lstStyle/>
        <a:p>
          <a:endParaRPr lang="en-US"/>
        </a:p>
      </dgm:t>
    </dgm:pt>
    <dgm:pt modelId="{A1847028-ED51-497A-8E55-9EE753F3D5CA}" type="pres">
      <dgm:prSet presAssocID="{2A41AB1B-8E4C-4FC4-8089-E6C562991736}" presName="parentText" presStyleLbl="node1" presStyleIdx="0" presStyleCnt="3">
        <dgm:presLayoutVars>
          <dgm:chMax val="0"/>
          <dgm:bulletEnabled val="1"/>
        </dgm:presLayoutVars>
      </dgm:prSet>
      <dgm:spPr/>
      <dgm:t>
        <a:bodyPr/>
        <a:lstStyle/>
        <a:p>
          <a:endParaRPr lang="en-US"/>
        </a:p>
      </dgm:t>
    </dgm:pt>
    <dgm:pt modelId="{53F1BD8C-B7F8-4739-9103-1D2700BAC3AD}" type="pres">
      <dgm:prSet presAssocID="{C2D135B0-B900-4632-99B1-8467E3868BCB}" presName="spacer" presStyleCnt="0"/>
      <dgm:spPr/>
    </dgm:pt>
    <dgm:pt modelId="{4103217C-844C-4F5A-B091-FDD81A95A3C6}" type="pres">
      <dgm:prSet presAssocID="{CA527903-99A1-4FE1-A202-595A905581BD}" presName="parentText" presStyleLbl="node1" presStyleIdx="1" presStyleCnt="3">
        <dgm:presLayoutVars>
          <dgm:chMax val="0"/>
          <dgm:bulletEnabled val="1"/>
        </dgm:presLayoutVars>
      </dgm:prSet>
      <dgm:spPr/>
      <dgm:t>
        <a:bodyPr/>
        <a:lstStyle/>
        <a:p>
          <a:endParaRPr lang="en-US"/>
        </a:p>
      </dgm:t>
    </dgm:pt>
    <dgm:pt modelId="{F9F16CD7-C4BD-42CC-BA38-395DF91E436E}" type="pres">
      <dgm:prSet presAssocID="{710CBF8D-3896-40C1-9202-8365F0C8E071}" presName="spacer" presStyleCnt="0"/>
      <dgm:spPr/>
    </dgm:pt>
    <dgm:pt modelId="{3D5A5D35-3E5B-4B88-951D-2E7DAC8C91AE}" type="pres">
      <dgm:prSet presAssocID="{583D8F60-924A-40C6-AE01-757095760908}" presName="parentText" presStyleLbl="node1" presStyleIdx="2" presStyleCnt="3">
        <dgm:presLayoutVars>
          <dgm:chMax val="0"/>
          <dgm:bulletEnabled val="1"/>
        </dgm:presLayoutVars>
      </dgm:prSet>
      <dgm:spPr/>
      <dgm:t>
        <a:bodyPr/>
        <a:lstStyle/>
        <a:p>
          <a:endParaRPr lang="en-US"/>
        </a:p>
      </dgm:t>
    </dgm:pt>
  </dgm:ptLst>
  <dgm:cxnLst>
    <dgm:cxn modelId="{A953665A-540C-4A72-89B0-24D20AA91790}" srcId="{E76E9C56-E23F-493B-B13B-F41A11367652}" destId="{2A41AB1B-8E4C-4FC4-8089-E6C562991736}" srcOrd="0" destOrd="0" parTransId="{0A880202-B4A2-49E7-902F-13A97F4E9DD6}" sibTransId="{C2D135B0-B900-4632-99B1-8467E3868BCB}"/>
    <dgm:cxn modelId="{8370FE9C-805F-4728-BC03-7248A186D411}" srcId="{E76E9C56-E23F-493B-B13B-F41A11367652}" destId="{583D8F60-924A-40C6-AE01-757095760908}" srcOrd="2" destOrd="0" parTransId="{3CE7A607-053D-4E70-98B8-59F9ADE4C6C9}" sibTransId="{69239B91-7F3A-4F68-AFDF-E28B080B6AB7}"/>
    <dgm:cxn modelId="{9DF9C0B6-DEEB-4EFB-999D-482EA5A04E03}" srcId="{E76E9C56-E23F-493B-B13B-F41A11367652}" destId="{CA527903-99A1-4FE1-A202-595A905581BD}" srcOrd="1" destOrd="0" parTransId="{1BBC7FD1-B1FC-47E3-929C-6BF4BB3BC54D}" sibTransId="{710CBF8D-3896-40C1-9202-8365F0C8E071}"/>
    <dgm:cxn modelId="{B53FFD68-ADC0-4B9E-8A37-414F83DBCE31}" type="presOf" srcId="{E76E9C56-E23F-493B-B13B-F41A11367652}" destId="{F9D78B2A-1E90-42D3-9C15-4340E2A80949}" srcOrd="0" destOrd="0" presId="urn:microsoft.com/office/officeart/2005/8/layout/vList2"/>
    <dgm:cxn modelId="{BA5058DF-B59D-402F-B0F5-C8984ED2E438}" type="presOf" srcId="{CA527903-99A1-4FE1-A202-595A905581BD}" destId="{4103217C-844C-4F5A-B091-FDD81A95A3C6}" srcOrd="0" destOrd="0" presId="urn:microsoft.com/office/officeart/2005/8/layout/vList2"/>
    <dgm:cxn modelId="{8F8C5C59-795D-4E9F-BC4E-FC496F59F74A}" type="presOf" srcId="{2A41AB1B-8E4C-4FC4-8089-E6C562991736}" destId="{A1847028-ED51-497A-8E55-9EE753F3D5CA}" srcOrd="0" destOrd="0" presId="urn:microsoft.com/office/officeart/2005/8/layout/vList2"/>
    <dgm:cxn modelId="{DC223502-F23E-46AE-A86A-9F14AD98FAC0}" type="presOf" srcId="{583D8F60-924A-40C6-AE01-757095760908}" destId="{3D5A5D35-3E5B-4B88-951D-2E7DAC8C91AE}" srcOrd="0" destOrd="0" presId="urn:microsoft.com/office/officeart/2005/8/layout/vList2"/>
    <dgm:cxn modelId="{8054AA12-771A-4D52-9283-B5EDD05A266F}" type="presParOf" srcId="{F9D78B2A-1E90-42D3-9C15-4340E2A80949}" destId="{A1847028-ED51-497A-8E55-9EE753F3D5CA}" srcOrd="0" destOrd="0" presId="urn:microsoft.com/office/officeart/2005/8/layout/vList2"/>
    <dgm:cxn modelId="{C3310F54-E58A-414C-9F52-E121AD528DF5}" type="presParOf" srcId="{F9D78B2A-1E90-42D3-9C15-4340E2A80949}" destId="{53F1BD8C-B7F8-4739-9103-1D2700BAC3AD}" srcOrd="1" destOrd="0" presId="urn:microsoft.com/office/officeart/2005/8/layout/vList2"/>
    <dgm:cxn modelId="{1B404481-AF61-4AA1-985A-B4EBB8EFD088}" type="presParOf" srcId="{F9D78B2A-1E90-42D3-9C15-4340E2A80949}" destId="{4103217C-844C-4F5A-B091-FDD81A95A3C6}" srcOrd="2" destOrd="0" presId="urn:microsoft.com/office/officeart/2005/8/layout/vList2"/>
    <dgm:cxn modelId="{56D40B91-B38E-4AEE-8BF1-6C28CBC3ED9F}" type="presParOf" srcId="{F9D78B2A-1E90-42D3-9C15-4340E2A80949}" destId="{F9F16CD7-C4BD-42CC-BA38-395DF91E436E}" srcOrd="3" destOrd="0" presId="urn:microsoft.com/office/officeart/2005/8/layout/vList2"/>
    <dgm:cxn modelId="{AFEDD185-74E4-451C-8C9F-B1DBA4389AE9}" type="presParOf" srcId="{F9D78B2A-1E90-42D3-9C15-4340E2A80949}" destId="{3D5A5D35-3E5B-4B88-951D-2E7DAC8C91AE}"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423A455-9C10-425A-A516-51E58BA9E90F}"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C908CF6-207A-4244-B3E1-3505CADCCE60}">
      <dgm:prSet phldrT="[Text]"/>
      <dgm:spPr/>
      <dgm:t>
        <a:bodyPr/>
        <a:lstStyle/>
        <a:p>
          <a:r>
            <a:rPr kumimoji="0" lang="en-US" b="0" i="0" u="none" strike="noStrike" cap="none" spc="0" normalizeH="0" baseline="0" noProof="0" dirty="0" smtClean="0">
              <a:ln/>
              <a:effectLst/>
              <a:uLnTx/>
              <a:uFillTx/>
              <a:latin typeface="+mn-lt"/>
              <a:ea typeface="+mn-ea"/>
              <a:cs typeface="+mn-cs"/>
            </a:rPr>
            <a:t>Create a directory where</a:t>
          </a:r>
          <a:r>
            <a:rPr lang="en-US" b="0" dirty="0" smtClean="0">
              <a:latin typeface="+mn-lt"/>
            </a:rPr>
            <a:t> MongoDB stores all its data.</a:t>
          </a:r>
          <a:endParaRPr lang="en-US" dirty="0"/>
        </a:p>
      </dgm:t>
    </dgm:pt>
    <dgm:pt modelId="{42B9D7A4-1D5C-4442-A480-97449EAFA603}" type="parTrans" cxnId="{B7C57369-7FDE-40B4-B06E-1590C5F8A7CB}">
      <dgm:prSet/>
      <dgm:spPr/>
      <dgm:t>
        <a:bodyPr/>
        <a:lstStyle/>
        <a:p>
          <a:endParaRPr lang="en-US"/>
        </a:p>
      </dgm:t>
    </dgm:pt>
    <dgm:pt modelId="{237DC517-5A54-49FC-BE04-9C3DA9C6D2B5}" type="sibTrans" cxnId="{B7C57369-7FDE-40B4-B06E-1590C5F8A7CB}">
      <dgm:prSet/>
      <dgm:spPr/>
      <dgm:t>
        <a:bodyPr/>
        <a:lstStyle/>
        <a:p>
          <a:endParaRPr lang="en-US"/>
        </a:p>
      </dgm:t>
    </dgm:pt>
    <dgm:pt modelId="{C556B360-B510-4E60-929F-28269EA0E193}">
      <dgm:prSet phldrT="[Text]"/>
      <dgm:spPr/>
      <dgm:t>
        <a:bodyPr/>
        <a:lstStyle/>
        <a:p>
          <a:r>
            <a:rPr lang="en-US" b="0" dirty="0" smtClean="0"/>
            <a:t>The MongoDB default data directory path is \data\db.</a:t>
          </a:r>
          <a:r>
            <a:rPr kumimoji="0" lang="en-US" b="0" i="0" u="none" strike="noStrike" cap="none" spc="0" normalizeH="0" baseline="0" noProof="0" dirty="0" smtClean="0">
              <a:ln/>
              <a:effectLst/>
              <a:uLnTx/>
              <a:uFillTx/>
              <a:latin typeface="+mn-lt"/>
              <a:ea typeface="+mn-ea"/>
              <a:cs typeface="+mn-cs"/>
            </a:rPr>
            <a:t> </a:t>
          </a:r>
          <a:endParaRPr lang="en-US" dirty="0"/>
        </a:p>
      </dgm:t>
    </dgm:pt>
    <dgm:pt modelId="{FB72FA27-18D8-4C16-B660-2DA252466E6A}" type="parTrans" cxnId="{59E64D82-239F-4626-BABE-F830818AC945}">
      <dgm:prSet/>
      <dgm:spPr/>
      <dgm:t>
        <a:bodyPr/>
        <a:lstStyle/>
        <a:p>
          <a:endParaRPr lang="en-US"/>
        </a:p>
      </dgm:t>
    </dgm:pt>
    <dgm:pt modelId="{44110639-4BDF-4B8B-83F9-6E93C0519169}" type="sibTrans" cxnId="{59E64D82-239F-4626-BABE-F830818AC945}">
      <dgm:prSet/>
      <dgm:spPr/>
      <dgm:t>
        <a:bodyPr/>
        <a:lstStyle/>
        <a:p>
          <a:endParaRPr lang="en-US"/>
        </a:p>
      </dgm:t>
    </dgm:pt>
    <dgm:pt modelId="{5E9472F3-B9D7-47A6-92D9-5319FA49233E}">
      <dgm:prSet phldrT="[Text]"/>
      <dgm:spPr/>
      <dgm:t>
        <a:bodyPr/>
        <a:lstStyle/>
        <a:p>
          <a:r>
            <a:rPr kumimoji="0" lang="en-US" b="0" i="0" u="none" strike="noStrike" cap="none" spc="0" normalizeH="0" baseline="0" noProof="0" dirty="0" smtClean="0">
              <a:ln/>
              <a:effectLst/>
              <a:uLnTx/>
              <a:uFillTx/>
              <a:latin typeface="+mn-lt"/>
              <a:ea typeface="+mn-ea"/>
              <a:cs typeface="+mn-cs"/>
            </a:rPr>
            <a:t>Create the data folder  in</a:t>
          </a:r>
          <a:r>
            <a:rPr kumimoji="0" lang="en-US" b="0" i="0" u="none" strike="noStrike" cap="none" spc="0" normalizeH="0" noProof="0" dirty="0" smtClean="0">
              <a:ln/>
              <a:effectLst/>
              <a:uLnTx/>
              <a:uFillTx/>
              <a:latin typeface="+mn-lt"/>
              <a:ea typeface="+mn-ea"/>
              <a:cs typeface="+mn-cs"/>
            </a:rPr>
            <a:t> D:\</a:t>
          </a:r>
          <a:endParaRPr lang="en-US" dirty="0"/>
        </a:p>
      </dgm:t>
    </dgm:pt>
    <dgm:pt modelId="{55E851CD-025C-4FFD-B8B2-03C5EC034C96}" type="parTrans" cxnId="{62C36173-F7AA-479A-A999-9E07EB067A02}">
      <dgm:prSet/>
      <dgm:spPr/>
      <dgm:t>
        <a:bodyPr/>
        <a:lstStyle/>
        <a:p>
          <a:endParaRPr lang="en-US"/>
        </a:p>
      </dgm:t>
    </dgm:pt>
    <dgm:pt modelId="{DCDD86F4-7AC3-4804-88AB-821287A5E205}" type="sibTrans" cxnId="{62C36173-F7AA-479A-A999-9E07EB067A02}">
      <dgm:prSet/>
      <dgm:spPr/>
      <dgm:t>
        <a:bodyPr/>
        <a:lstStyle/>
        <a:p>
          <a:endParaRPr lang="en-US"/>
        </a:p>
      </dgm:t>
    </dgm:pt>
    <dgm:pt modelId="{B11435E5-D216-4148-8E6A-19954A59172F}">
      <dgm:prSet phldrT="[Text]"/>
      <dgm:spPr/>
      <dgm:t>
        <a:bodyPr/>
        <a:lstStyle/>
        <a:p>
          <a:r>
            <a:rPr lang="en-US" b="0" dirty="0" smtClean="0">
              <a:latin typeface="+mn-lt"/>
            </a:rPr>
            <a:t>Set the Path.</a:t>
          </a:r>
          <a:endParaRPr lang="en-US" dirty="0"/>
        </a:p>
      </dgm:t>
    </dgm:pt>
    <dgm:pt modelId="{4BCD73DB-107A-4454-BA53-A0052D2C4A57}" type="parTrans" cxnId="{169A9578-8FCB-41DE-A4D0-4506FFC8B9AB}">
      <dgm:prSet/>
      <dgm:spPr/>
      <dgm:t>
        <a:bodyPr/>
        <a:lstStyle/>
        <a:p>
          <a:endParaRPr lang="en-US"/>
        </a:p>
      </dgm:t>
    </dgm:pt>
    <dgm:pt modelId="{08EC01A5-40E4-4CC9-A013-ECB3EE85D1AF}" type="sibTrans" cxnId="{169A9578-8FCB-41DE-A4D0-4506FFC8B9AB}">
      <dgm:prSet/>
      <dgm:spPr/>
      <dgm:t>
        <a:bodyPr/>
        <a:lstStyle/>
        <a:p>
          <a:endParaRPr lang="en-US"/>
        </a:p>
      </dgm:t>
    </dgm:pt>
    <dgm:pt modelId="{2EA137A2-8FDC-4878-A009-A07CBE206AD5}">
      <dgm:prSet phldrT="[Text]"/>
      <dgm:spPr/>
      <dgm:t>
        <a:bodyPr/>
        <a:lstStyle/>
        <a:p>
          <a:r>
            <a:rPr kumimoji="0" lang="en-US" b="0" i="0" u="none" strike="noStrike" cap="none" spc="0" normalizeH="0" baseline="0" noProof="0" dirty="0" smtClean="0">
              <a:ln/>
              <a:effectLst/>
              <a:uLnTx/>
              <a:uFillTx/>
              <a:latin typeface="+mn-lt"/>
              <a:ea typeface="+mn-ea"/>
              <a:cs typeface="+mn-cs"/>
            </a:rPr>
            <a:t>Run mongod.exe</a:t>
          </a:r>
          <a:endParaRPr lang="en-US" dirty="0"/>
        </a:p>
      </dgm:t>
    </dgm:pt>
    <dgm:pt modelId="{C5D0E56F-C2AF-4DEA-907D-DA72403D76FF}" type="parTrans" cxnId="{74B4D1CF-9A9E-480C-A3D5-D97E58B786BF}">
      <dgm:prSet/>
      <dgm:spPr/>
      <dgm:t>
        <a:bodyPr/>
        <a:lstStyle/>
        <a:p>
          <a:endParaRPr lang="en-US"/>
        </a:p>
      </dgm:t>
    </dgm:pt>
    <dgm:pt modelId="{E7D773C0-E900-4CB6-A3D3-38726E707F7F}" type="sibTrans" cxnId="{74B4D1CF-9A9E-480C-A3D5-D97E58B786BF}">
      <dgm:prSet/>
      <dgm:spPr/>
      <dgm:t>
        <a:bodyPr/>
        <a:lstStyle/>
        <a:p>
          <a:endParaRPr lang="en-US"/>
        </a:p>
      </dgm:t>
    </dgm:pt>
    <dgm:pt modelId="{8F555988-2B1A-486D-A9A0-219916F332E3}">
      <dgm:prSet phldrT="[Text]"/>
      <dgm:spPr/>
      <dgm:t>
        <a:bodyPr/>
        <a:lstStyle/>
        <a:p>
          <a:r>
            <a:rPr lang="en-US" b="0" dirty="0" smtClean="0"/>
            <a:t>To start MongoDB server, we need to run mongod.exe</a:t>
          </a:r>
          <a:endParaRPr lang="en-US" dirty="0"/>
        </a:p>
      </dgm:t>
    </dgm:pt>
    <dgm:pt modelId="{6511A27F-2C07-4A2B-BD19-12E2E11B3B55}" type="parTrans" cxnId="{D4C5459A-2261-47B9-A80D-5B0D5347B191}">
      <dgm:prSet/>
      <dgm:spPr/>
      <dgm:t>
        <a:bodyPr/>
        <a:lstStyle/>
        <a:p>
          <a:endParaRPr lang="en-US"/>
        </a:p>
      </dgm:t>
    </dgm:pt>
    <dgm:pt modelId="{00596282-DCEB-445F-8F80-EBF74FA78C6B}" type="sibTrans" cxnId="{D4C5459A-2261-47B9-A80D-5B0D5347B191}">
      <dgm:prSet/>
      <dgm:spPr/>
      <dgm:t>
        <a:bodyPr/>
        <a:lstStyle/>
        <a:p>
          <a:endParaRPr lang="en-US"/>
        </a:p>
      </dgm:t>
    </dgm:pt>
    <dgm:pt modelId="{4D55231F-89C6-4108-AA0D-00C38E5BD993}" type="pres">
      <dgm:prSet presAssocID="{3423A455-9C10-425A-A516-51E58BA9E90F}" presName="linear" presStyleCnt="0">
        <dgm:presLayoutVars>
          <dgm:animLvl val="lvl"/>
          <dgm:resizeHandles val="exact"/>
        </dgm:presLayoutVars>
      </dgm:prSet>
      <dgm:spPr/>
      <dgm:t>
        <a:bodyPr/>
        <a:lstStyle/>
        <a:p>
          <a:endParaRPr lang="en-US"/>
        </a:p>
      </dgm:t>
    </dgm:pt>
    <dgm:pt modelId="{86285DC2-CDEB-46F8-B31B-07F81CEEE517}" type="pres">
      <dgm:prSet presAssocID="{5C908CF6-207A-4244-B3E1-3505CADCCE60}" presName="parentText" presStyleLbl="node1" presStyleIdx="0" presStyleCnt="6">
        <dgm:presLayoutVars>
          <dgm:chMax val="0"/>
          <dgm:bulletEnabled val="1"/>
        </dgm:presLayoutVars>
      </dgm:prSet>
      <dgm:spPr/>
      <dgm:t>
        <a:bodyPr/>
        <a:lstStyle/>
        <a:p>
          <a:endParaRPr lang="en-US"/>
        </a:p>
      </dgm:t>
    </dgm:pt>
    <dgm:pt modelId="{61B70CB4-86FE-4C55-86C6-0F995FCFD4F7}" type="pres">
      <dgm:prSet presAssocID="{237DC517-5A54-49FC-BE04-9C3DA9C6D2B5}" presName="spacer" presStyleCnt="0"/>
      <dgm:spPr/>
    </dgm:pt>
    <dgm:pt modelId="{E20EE2B3-7434-4C44-A77D-DB1D244D35CF}" type="pres">
      <dgm:prSet presAssocID="{C556B360-B510-4E60-929F-28269EA0E193}" presName="parentText" presStyleLbl="node1" presStyleIdx="1" presStyleCnt="6">
        <dgm:presLayoutVars>
          <dgm:chMax val="0"/>
          <dgm:bulletEnabled val="1"/>
        </dgm:presLayoutVars>
      </dgm:prSet>
      <dgm:spPr/>
      <dgm:t>
        <a:bodyPr/>
        <a:lstStyle/>
        <a:p>
          <a:endParaRPr lang="en-US"/>
        </a:p>
      </dgm:t>
    </dgm:pt>
    <dgm:pt modelId="{88C760C0-5014-40A3-9CD9-BEC9F2E03619}" type="pres">
      <dgm:prSet presAssocID="{44110639-4BDF-4B8B-83F9-6E93C0519169}" presName="spacer" presStyleCnt="0"/>
      <dgm:spPr/>
    </dgm:pt>
    <dgm:pt modelId="{5EF1D875-3CAF-42C6-AC43-00565DA6AB9C}" type="pres">
      <dgm:prSet presAssocID="{5E9472F3-B9D7-47A6-92D9-5319FA49233E}" presName="parentText" presStyleLbl="node1" presStyleIdx="2" presStyleCnt="6">
        <dgm:presLayoutVars>
          <dgm:chMax val="0"/>
          <dgm:bulletEnabled val="1"/>
        </dgm:presLayoutVars>
      </dgm:prSet>
      <dgm:spPr/>
      <dgm:t>
        <a:bodyPr/>
        <a:lstStyle/>
        <a:p>
          <a:endParaRPr lang="en-US"/>
        </a:p>
      </dgm:t>
    </dgm:pt>
    <dgm:pt modelId="{E30AA097-A5E0-4211-BB51-0DBF37C5EA98}" type="pres">
      <dgm:prSet presAssocID="{DCDD86F4-7AC3-4804-88AB-821287A5E205}" presName="spacer" presStyleCnt="0"/>
      <dgm:spPr/>
    </dgm:pt>
    <dgm:pt modelId="{72175CC0-7BE4-4931-95F9-F61292A3D786}" type="pres">
      <dgm:prSet presAssocID="{B11435E5-D216-4148-8E6A-19954A59172F}" presName="parentText" presStyleLbl="node1" presStyleIdx="3" presStyleCnt="6">
        <dgm:presLayoutVars>
          <dgm:chMax val="0"/>
          <dgm:bulletEnabled val="1"/>
        </dgm:presLayoutVars>
      </dgm:prSet>
      <dgm:spPr/>
      <dgm:t>
        <a:bodyPr/>
        <a:lstStyle/>
        <a:p>
          <a:endParaRPr lang="en-US"/>
        </a:p>
      </dgm:t>
    </dgm:pt>
    <dgm:pt modelId="{CCDCD70E-26A3-4FBD-88EF-064A262DDB2C}" type="pres">
      <dgm:prSet presAssocID="{08EC01A5-40E4-4CC9-A013-ECB3EE85D1AF}" presName="spacer" presStyleCnt="0"/>
      <dgm:spPr/>
    </dgm:pt>
    <dgm:pt modelId="{FFC283EB-B500-4830-84A0-F55134478803}" type="pres">
      <dgm:prSet presAssocID="{2EA137A2-8FDC-4878-A009-A07CBE206AD5}" presName="parentText" presStyleLbl="node1" presStyleIdx="4" presStyleCnt="6">
        <dgm:presLayoutVars>
          <dgm:chMax val="0"/>
          <dgm:bulletEnabled val="1"/>
        </dgm:presLayoutVars>
      </dgm:prSet>
      <dgm:spPr/>
      <dgm:t>
        <a:bodyPr/>
        <a:lstStyle/>
        <a:p>
          <a:endParaRPr lang="en-US"/>
        </a:p>
      </dgm:t>
    </dgm:pt>
    <dgm:pt modelId="{E97A33E4-B793-4363-966B-4605EEA7D51A}" type="pres">
      <dgm:prSet presAssocID="{E7D773C0-E900-4CB6-A3D3-38726E707F7F}" presName="spacer" presStyleCnt="0"/>
      <dgm:spPr/>
    </dgm:pt>
    <dgm:pt modelId="{F3551CDD-695E-42DC-BFF9-FE865067369F}" type="pres">
      <dgm:prSet presAssocID="{8F555988-2B1A-486D-A9A0-219916F332E3}" presName="parentText" presStyleLbl="node1" presStyleIdx="5" presStyleCnt="6">
        <dgm:presLayoutVars>
          <dgm:chMax val="0"/>
          <dgm:bulletEnabled val="1"/>
        </dgm:presLayoutVars>
      </dgm:prSet>
      <dgm:spPr/>
      <dgm:t>
        <a:bodyPr/>
        <a:lstStyle/>
        <a:p>
          <a:endParaRPr lang="en-US"/>
        </a:p>
      </dgm:t>
    </dgm:pt>
  </dgm:ptLst>
  <dgm:cxnLst>
    <dgm:cxn modelId="{C95331D7-C7C2-4106-BAB9-7DFA7ED0716D}" type="presOf" srcId="{C556B360-B510-4E60-929F-28269EA0E193}" destId="{E20EE2B3-7434-4C44-A77D-DB1D244D35CF}" srcOrd="0" destOrd="0" presId="urn:microsoft.com/office/officeart/2005/8/layout/vList2"/>
    <dgm:cxn modelId="{62C36173-F7AA-479A-A999-9E07EB067A02}" srcId="{3423A455-9C10-425A-A516-51E58BA9E90F}" destId="{5E9472F3-B9D7-47A6-92D9-5319FA49233E}" srcOrd="2" destOrd="0" parTransId="{55E851CD-025C-4FFD-B8B2-03C5EC034C96}" sibTransId="{DCDD86F4-7AC3-4804-88AB-821287A5E205}"/>
    <dgm:cxn modelId="{169A9578-8FCB-41DE-A4D0-4506FFC8B9AB}" srcId="{3423A455-9C10-425A-A516-51E58BA9E90F}" destId="{B11435E5-D216-4148-8E6A-19954A59172F}" srcOrd="3" destOrd="0" parTransId="{4BCD73DB-107A-4454-BA53-A0052D2C4A57}" sibTransId="{08EC01A5-40E4-4CC9-A013-ECB3EE85D1AF}"/>
    <dgm:cxn modelId="{74B4D1CF-9A9E-480C-A3D5-D97E58B786BF}" srcId="{3423A455-9C10-425A-A516-51E58BA9E90F}" destId="{2EA137A2-8FDC-4878-A009-A07CBE206AD5}" srcOrd="4" destOrd="0" parTransId="{C5D0E56F-C2AF-4DEA-907D-DA72403D76FF}" sibTransId="{E7D773C0-E900-4CB6-A3D3-38726E707F7F}"/>
    <dgm:cxn modelId="{D4C5459A-2261-47B9-A80D-5B0D5347B191}" srcId="{3423A455-9C10-425A-A516-51E58BA9E90F}" destId="{8F555988-2B1A-486D-A9A0-219916F332E3}" srcOrd="5" destOrd="0" parTransId="{6511A27F-2C07-4A2B-BD19-12E2E11B3B55}" sibTransId="{00596282-DCEB-445F-8F80-EBF74FA78C6B}"/>
    <dgm:cxn modelId="{59E64D82-239F-4626-BABE-F830818AC945}" srcId="{3423A455-9C10-425A-A516-51E58BA9E90F}" destId="{C556B360-B510-4E60-929F-28269EA0E193}" srcOrd="1" destOrd="0" parTransId="{FB72FA27-18D8-4C16-B660-2DA252466E6A}" sibTransId="{44110639-4BDF-4B8B-83F9-6E93C0519169}"/>
    <dgm:cxn modelId="{B7C57369-7FDE-40B4-B06E-1590C5F8A7CB}" srcId="{3423A455-9C10-425A-A516-51E58BA9E90F}" destId="{5C908CF6-207A-4244-B3E1-3505CADCCE60}" srcOrd="0" destOrd="0" parTransId="{42B9D7A4-1D5C-4442-A480-97449EAFA603}" sibTransId="{237DC517-5A54-49FC-BE04-9C3DA9C6D2B5}"/>
    <dgm:cxn modelId="{878334A3-BB2C-49A7-A5D5-E52DB02AF8F0}" type="presOf" srcId="{5C908CF6-207A-4244-B3E1-3505CADCCE60}" destId="{86285DC2-CDEB-46F8-B31B-07F81CEEE517}" srcOrd="0" destOrd="0" presId="urn:microsoft.com/office/officeart/2005/8/layout/vList2"/>
    <dgm:cxn modelId="{2A8618DF-8AA5-4409-B036-4693B5335FA1}" type="presOf" srcId="{5E9472F3-B9D7-47A6-92D9-5319FA49233E}" destId="{5EF1D875-3CAF-42C6-AC43-00565DA6AB9C}" srcOrd="0" destOrd="0" presId="urn:microsoft.com/office/officeart/2005/8/layout/vList2"/>
    <dgm:cxn modelId="{B89BBF95-14EB-4012-BFD1-BC51ACCFE839}" type="presOf" srcId="{2EA137A2-8FDC-4878-A009-A07CBE206AD5}" destId="{FFC283EB-B500-4830-84A0-F55134478803}" srcOrd="0" destOrd="0" presId="urn:microsoft.com/office/officeart/2005/8/layout/vList2"/>
    <dgm:cxn modelId="{6F861702-9F52-4B3A-BFBE-E3F41EB8FA17}" type="presOf" srcId="{3423A455-9C10-425A-A516-51E58BA9E90F}" destId="{4D55231F-89C6-4108-AA0D-00C38E5BD993}" srcOrd="0" destOrd="0" presId="urn:microsoft.com/office/officeart/2005/8/layout/vList2"/>
    <dgm:cxn modelId="{C54378FB-2B14-45C4-8E99-CAD9FD5D5594}" type="presOf" srcId="{B11435E5-D216-4148-8E6A-19954A59172F}" destId="{72175CC0-7BE4-4931-95F9-F61292A3D786}" srcOrd="0" destOrd="0" presId="urn:microsoft.com/office/officeart/2005/8/layout/vList2"/>
    <dgm:cxn modelId="{1B5BE3D8-E053-49E0-9C5E-AC35A1C8E092}" type="presOf" srcId="{8F555988-2B1A-486D-A9A0-219916F332E3}" destId="{F3551CDD-695E-42DC-BFF9-FE865067369F}" srcOrd="0" destOrd="0" presId="urn:microsoft.com/office/officeart/2005/8/layout/vList2"/>
    <dgm:cxn modelId="{B3BF0BBE-0391-4537-9984-954BB3D63157}" type="presParOf" srcId="{4D55231F-89C6-4108-AA0D-00C38E5BD993}" destId="{86285DC2-CDEB-46F8-B31B-07F81CEEE517}" srcOrd="0" destOrd="0" presId="urn:microsoft.com/office/officeart/2005/8/layout/vList2"/>
    <dgm:cxn modelId="{8931DE45-4E8B-44A1-AEDD-E1FDDBE1AF22}" type="presParOf" srcId="{4D55231F-89C6-4108-AA0D-00C38E5BD993}" destId="{61B70CB4-86FE-4C55-86C6-0F995FCFD4F7}" srcOrd="1" destOrd="0" presId="urn:microsoft.com/office/officeart/2005/8/layout/vList2"/>
    <dgm:cxn modelId="{66CA4AD4-AA7F-469F-9112-21077F8E6FBE}" type="presParOf" srcId="{4D55231F-89C6-4108-AA0D-00C38E5BD993}" destId="{E20EE2B3-7434-4C44-A77D-DB1D244D35CF}" srcOrd="2" destOrd="0" presId="urn:microsoft.com/office/officeart/2005/8/layout/vList2"/>
    <dgm:cxn modelId="{2254832A-F7AA-4425-B8BA-2914AE6E68C4}" type="presParOf" srcId="{4D55231F-89C6-4108-AA0D-00C38E5BD993}" destId="{88C760C0-5014-40A3-9CD9-BEC9F2E03619}" srcOrd="3" destOrd="0" presId="urn:microsoft.com/office/officeart/2005/8/layout/vList2"/>
    <dgm:cxn modelId="{458B8BBD-D709-4D59-AC65-A70AE113355B}" type="presParOf" srcId="{4D55231F-89C6-4108-AA0D-00C38E5BD993}" destId="{5EF1D875-3CAF-42C6-AC43-00565DA6AB9C}" srcOrd="4" destOrd="0" presId="urn:microsoft.com/office/officeart/2005/8/layout/vList2"/>
    <dgm:cxn modelId="{45F2A077-0A55-4839-9576-6813266635A5}" type="presParOf" srcId="{4D55231F-89C6-4108-AA0D-00C38E5BD993}" destId="{E30AA097-A5E0-4211-BB51-0DBF37C5EA98}" srcOrd="5" destOrd="0" presId="urn:microsoft.com/office/officeart/2005/8/layout/vList2"/>
    <dgm:cxn modelId="{5D953306-B62C-4987-9B36-FA999A498439}" type="presParOf" srcId="{4D55231F-89C6-4108-AA0D-00C38E5BD993}" destId="{72175CC0-7BE4-4931-95F9-F61292A3D786}" srcOrd="6" destOrd="0" presId="urn:microsoft.com/office/officeart/2005/8/layout/vList2"/>
    <dgm:cxn modelId="{7B8E975D-F85B-4DAB-8BEB-85D576643508}" type="presParOf" srcId="{4D55231F-89C6-4108-AA0D-00C38E5BD993}" destId="{CCDCD70E-26A3-4FBD-88EF-064A262DDB2C}" srcOrd="7" destOrd="0" presId="urn:microsoft.com/office/officeart/2005/8/layout/vList2"/>
    <dgm:cxn modelId="{F3C4C0D4-184A-47FC-A30B-92E6F4543AC0}" type="presParOf" srcId="{4D55231F-89C6-4108-AA0D-00C38E5BD993}" destId="{FFC283EB-B500-4830-84A0-F55134478803}" srcOrd="8" destOrd="0" presId="urn:microsoft.com/office/officeart/2005/8/layout/vList2"/>
    <dgm:cxn modelId="{962AA25F-569E-4FB9-827F-5B27EA7FB37D}" type="presParOf" srcId="{4D55231F-89C6-4108-AA0D-00C38E5BD993}" destId="{E97A33E4-B793-4363-966B-4605EEA7D51A}" srcOrd="9" destOrd="0" presId="urn:microsoft.com/office/officeart/2005/8/layout/vList2"/>
    <dgm:cxn modelId="{A8624EAD-875A-43F6-9CAB-5E9B6A62282B}" type="presParOf" srcId="{4D55231F-89C6-4108-AA0D-00C38E5BD993}" destId="{F3551CDD-695E-42DC-BFF9-FE865067369F}" srcOrd="1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93A9ECB-D7C8-4041-AF2F-B5DE71DA25D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147A6C8-5320-41A7-A64D-D7E7BA84FE6E}">
      <dgm:prSet phldrT="[Text]" custT="1"/>
      <dgm:spPr/>
      <dgm:t>
        <a:bodyPr/>
        <a:lstStyle/>
        <a:p>
          <a:r>
            <a:rPr lang="en-US" sz="2000" dirty="0" smtClean="0"/>
            <a:t>D:\set up\mongodb&gt;mongod.exe --dbpath "d:\set up\mongodb\data" </a:t>
          </a:r>
          <a:endParaRPr lang="en-US" sz="2000" dirty="0"/>
        </a:p>
      </dgm:t>
    </dgm:pt>
    <dgm:pt modelId="{2C372E8A-4E16-405F-B29E-340AC6417D3C}" type="parTrans" cxnId="{EAA5C43D-873F-4550-8181-AAE33C942108}">
      <dgm:prSet/>
      <dgm:spPr/>
      <dgm:t>
        <a:bodyPr/>
        <a:lstStyle/>
        <a:p>
          <a:endParaRPr lang="en-US" sz="2000"/>
        </a:p>
      </dgm:t>
    </dgm:pt>
    <dgm:pt modelId="{2C938214-DEDB-419B-97B7-E3DA123723F0}" type="sibTrans" cxnId="{EAA5C43D-873F-4550-8181-AAE33C942108}">
      <dgm:prSet/>
      <dgm:spPr/>
      <dgm:t>
        <a:bodyPr/>
        <a:lstStyle/>
        <a:p>
          <a:endParaRPr lang="en-US" sz="2000"/>
        </a:p>
      </dgm:t>
    </dgm:pt>
    <dgm:pt modelId="{CDFC39C7-142E-444A-AF84-0A132DDF0625}">
      <dgm:prSet phldrT="[Text]" custT="1"/>
      <dgm:spPr/>
      <dgm:t>
        <a:bodyPr/>
        <a:lstStyle/>
        <a:p>
          <a:r>
            <a:rPr lang="en-US" sz="2000" dirty="0" smtClean="0"/>
            <a:t>This will show </a:t>
          </a:r>
          <a:r>
            <a:rPr lang="en-US" sz="2000" b="1" dirty="0" smtClean="0"/>
            <a:t>waiting for connections</a:t>
          </a:r>
          <a:r>
            <a:rPr lang="en-US" sz="2000" dirty="0" smtClean="0"/>
            <a:t> message on the console output indicates that the mongod.exe process is running successfully.</a:t>
          </a:r>
          <a:endParaRPr lang="en-US" sz="2000" dirty="0"/>
        </a:p>
      </dgm:t>
    </dgm:pt>
    <dgm:pt modelId="{1CB08265-1A62-47FC-8A76-FE4F9BC8127B}" type="parTrans" cxnId="{637356B6-4F52-4DDE-BA96-FCF8EEFF7E63}">
      <dgm:prSet/>
      <dgm:spPr/>
      <dgm:t>
        <a:bodyPr/>
        <a:lstStyle/>
        <a:p>
          <a:endParaRPr lang="en-US" sz="2000"/>
        </a:p>
      </dgm:t>
    </dgm:pt>
    <dgm:pt modelId="{A97E1DA7-8765-49A3-9BDC-A5BF7B87570C}" type="sibTrans" cxnId="{637356B6-4F52-4DDE-BA96-FCF8EEFF7E63}">
      <dgm:prSet/>
      <dgm:spPr/>
      <dgm:t>
        <a:bodyPr/>
        <a:lstStyle/>
        <a:p>
          <a:endParaRPr lang="en-US" sz="2000"/>
        </a:p>
      </dgm:t>
    </dgm:pt>
    <dgm:pt modelId="{BD4E19C6-01F0-4CB9-AA76-574F3716C60B}">
      <dgm:prSet phldrT="[Text]" custT="1"/>
      <dgm:spPr/>
      <dgm:t>
        <a:bodyPr/>
        <a:lstStyle/>
        <a:p>
          <a:r>
            <a:rPr lang="en-US" sz="2000" dirty="0" smtClean="0"/>
            <a:t>Now to run the mongodb you need to open another command prompt and issue the following command.</a:t>
          </a:r>
          <a:endParaRPr lang="en-US" sz="2000" dirty="0"/>
        </a:p>
      </dgm:t>
    </dgm:pt>
    <dgm:pt modelId="{F0A42C11-6672-46F2-B5E6-EEB26E9176CC}" type="parTrans" cxnId="{B36C927F-8CC3-481F-9259-8A5CADC96329}">
      <dgm:prSet/>
      <dgm:spPr/>
      <dgm:t>
        <a:bodyPr/>
        <a:lstStyle/>
        <a:p>
          <a:endParaRPr lang="en-US" sz="2000"/>
        </a:p>
      </dgm:t>
    </dgm:pt>
    <dgm:pt modelId="{C0E371C5-CC25-4827-8E35-AF7B2643969C}" type="sibTrans" cxnId="{B36C927F-8CC3-481F-9259-8A5CADC96329}">
      <dgm:prSet/>
      <dgm:spPr/>
      <dgm:t>
        <a:bodyPr/>
        <a:lstStyle/>
        <a:p>
          <a:endParaRPr lang="en-US" sz="2000"/>
        </a:p>
      </dgm:t>
    </dgm:pt>
    <dgm:pt modelId="{AA8DDFC4-1805-4DDE-B5DA-C64D8C61CCCE}" type="pres">
      <dgm:prSet presAssocID="{293A9ECB-D7C8-4041-AF2F-B5DE71DA25D1}" presName="linear" presStyleCnt="0">
        <dgm:presLayoutVars>
          <dgm:animLvl val="lvl"/>
          <dgm:resizeHandles val="exact"/>
        </dgm:presLayoutVars>
      </dgm:prSet>
      <dgm:spPr/>
      <dgm:t>
        <a:bodyPr/>
        <a:lstStyle/>
        <a:p>
          <a:endParaRPr lang="en-US"/>
        </a:p>
      </dgm:t>
    </dgm:pt>
    <dgm:pt modelId="{D0582B86-999A-4728-B9D3-922D3F53197F}" type="pres">
      <dgm:prSet presAssocID="{3147A6C8-5320-41A7-A64D-D7E7BA84FE6E}" presName="parentText" presStyleLbl="node1" presStyleIdx="0" presStyleCnt="3">
        <dgm:presLayoutVars>
          <dgm:chMax val="0"/>
          <dgm:bulletEnabled val="1"/>
        </dgm:presLayoutVars>
      </dgm:prSet>
      <dgm:spPr/>
      <dgm:t>
        <a:bodyPr/>
        <a:lstStyle/>
        <a:p>
          <a:endParaRPr lang="en-US"/>
        </a:p>
      </dgm:t>
    </dgm:pt>
    <dgm:pt modelId="{8EED12D0-155A-4EA1-84FF-21F6F0B1380B}" type="pres">
      <dgm:prSet presAssocID="{2C938214-DEDB-419B-97B7-E3DA123723F0}" presName="spacer" presStyleCnt="0"/>
      <dgm:spPr/>
    </dgm:pt>
    <dgm:pt modelId="{88F4BE78-327C-44AB-BF74-FF80B7115757}" type="pres">
      <dgm:prSet presAssocID="{CDFC39C7-142E-444A-AF84-0A132DDF0625}" presName="parentText" presStyleLbl="node1" presStyleIdx="1" presStyleCnt="3">
        <dgm:presLayoutVars>
          <dgm:chMax val="0"/>
          <dgm:bulletEnabled val="1"/>
        </dgm:presLayoutVars>
      </dgm:prSet>
      <dgm:spPr/>
      <dgm:t>
        <a:bodyPr/>
        <a:lstStyle/>
        <a:p>
          <a:endParaRPr lang="en-US"/>
        </a:p>
      </dgm:t>
    </dgm:pt>
    <dgm:pt modelId="{DF46FBBC-F090-4253-B3F1-40A8B8532B34}" type="pres">
      <dgm:prSet presAssocID="{A97E1DA7-8765-49A3-9BDC-A5BF7B87570C}" presName="spacer" presStyleCnt="0"/>
      <dgm:spPr/>
    </dgm:pt>
    <dgm:pt modelId="{EB9BA665-5A06-44EE-8414-80BBC63598CA}" type="pres">
      <dgm:prSet presAssocID="{BD4E19C6-01F0-4CB9-AA76-574F3716C60B}" presName="parentText" presStyleLbl="node1" presStyleIdx="2" presStyleCnt="3">
        <dgm:presLayoutVars>
          <dgm:chMax val="0"/>
          <dgm:bulletEnabled val="1"/>
        </dgm:presLayoutVars>
      </dgm:prSet>
      <dgm:spPr/>
      <dgm:t>
        <a:bodyPr/>
        <a:lstStyle/>
        <a:p>
          <a:endParaRPr lang="en-US"/>
        </a:p>
      </dgm:t>
    </dgm:pt>
  </dgm:ptLst>
  <dgm:cxnLst>
    <dgm:cxn modelId="{B36C927F-8CC3-481F-9259-8A5CADC96329}" srcId="{293A9ECB-D7C8-4041-AF2F-B5DE71DA25D1}" destId="{BD4E19C6-01F0-4CB9-AA76-574F3716C60B}" srcOrd="2" destOrd="0" parTransId="{F0A42C11-6672-46F2-B5E6-EEB26E9176CC}" sibTransId="{C0E371C5-CC25-4827-8E35-AF7B2643969C}"/>
    <dgm:cxn modelId="{04C7F01F-BADA-4E55-8AAC-4EF3E43B850C}" type="presOf" srcId="{BD4E19C6-01F0-4CB9-AA76-574F3716C60B}" destId="{EB9BA665-5A06-44EE-8414-80BBC63598CA}" srcOrd="0" destOrd="0" presId="urn:microsoft.com/office/officeart/2005/8/layout/vList2"/>
    <dgm:cxn modelId="{637356B6-4F52-4DDE-BA96-FCF8EEFF7E63}" srcId="{293A9ECB-D7C8-4041-AF2F-B5DE71DA25D1}" destId="{CDFC39C7-142E-444A-AF84-0A132DDF0625}" srcOrd="1" destOrd="0" parTransId="{1CB08265-1A62-47FC-8A76-FE4F9BC8127B}" sibTransId="{A97E1DA7-8765-49A3-9BDC-A5BF7B87570C}"/>
    <dgm:cxn modelId="{EAA5C43D-873F-4550-8181-AAE33C942108}" srcId="{293A9ECB-D7C8-4041-AF2F-B5DE71DA25D1}" destId="{3147A6C8-5320-41A7-A64D-D7E7BA84FE6E}" srcOrd="0" destOrd="0" parTransId="{2C372E8A-4E16-405F-B29E-340AC6417D3C}" sibTransId="{2C938214-DEDB-419B-97B7-E3DA123723F0}"/>
    <dgm:cxn modelId="{5D48B069-3EC5-4A3F-8C87-0BA255BC6882}" type="presOf" srcId="{CDFC39C7-142E-444A-AF84-0A132DDF0625}" destId="{88F4BE78-327C-44AB-BF74-FF80B7115757}" srcOrd="0" destOrd="0" presId="urn:microsoft.com/office/officeart/2005/8/layout/vList2"/>
    <dgm:cxn modelId="{7935C4A1-FD03-4EB5-8B58-D4E57392BD90}" type="presOf" srcId="{293A9ECB-D7C8-4041-AF2F-B5DE71DA25D1}" destId="{AA8DDFC4-1805-4DDE-B5DA-C64D8C61CCCE}" srcOrd="0" destOrd="0" presId="urn:microsoft.com/office/officeart/2005/8/layout/vList2"/>
    <dgm:cxn modelId="{D71E5178-FECD-4AA8-A30D-A1C7142CB3BB}" type="presOf" srcId="{3147A6C8-5320-41A7-A64D-D7E7BA84FE6E}" destId="{D0582B86-999A-4728-B9D3-922D3F53197F}" srcOrd="0" destOrd="0" presId="urn:microsoft.com/office/officeart/2005/8/layout/vList2"/>
    <dgm:cxn modelId="{10A9879C-B3D1-4D74-86D2-7653A2EB3755}" type="presParOf" srcId="{AA8DDFC4-1805-4DDE-B5DA-C64D8C61CCCE}" destId="{D0582B86-999A-4728-B9D3-922D3F53197F}" srcOrd="0" destOrd="0" presId="urn:microsoft.com/office/officeart/2005/8/layout/vList2"/>
    <dgm:cxn modelId="{2EF61338-CA56-4305-B1F7-EFFE466B0996}" type="presParOf" srcId="{AA8DDFC4-1805-4DDE-B5DA-C64D8C61CCCE}" destId="{8EED12D0-155A-4EA1-84FF-21F6F0B1380B}" srcOrd="1" destOrd="0" presId="urn:microsoft.com/office/officeart/2005/8/layout/vList2"/>
    <dgm:cxn modelId="{66B831F8-ABF3-4EC8-B8D5-B017CAE33E81}" type="presParOf" srcId="{AA8DDFC4-1805-4DDE-B5DA-C64D8C61CCCE}" destId="{88F4BE78-327C-44AB-BF74-FF80B7115757}" srcOrd="2" destOrd="0" presId="urn:microsoft.com/office/officeart/2005/8/layout/vList2"/>
    <dgm:cxn modelId="{FF9F1C1C-13EC-440F-B546-16414BB8D6EA}" type="presParOf" srcId="{AA8DDFC4-1805-4DDE-B5DA-C64D8C61CCCE}" destId="{DF46FBBC-F090-4253-B3F1-40A8B8532B34}" srcOrd="3" destOrd="0" presId="urn:microsoft.com/office/officeart/2005/8/layout/vList2"/>
    <dgm:cxn modelId="{134A21E4-9A80-47A2-A98B-27A88F256A4F}" type="presParOf" srcId="{AA8DDFC4-1805-4DDE-B5DA-C64D8C61CCCE}" destId="{EB9BA665-5A06-44EE-8414-80BBC63598CA}"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540B9B7-4C98-41E1-A53E-CE1259741179}"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A63D793C-8083-4DF3-A1A4-69140676DCC7}">
      <dgm:prSet phldrT="[Text]" custT="1"/>
      <dgm:spPr/>
      <dgm:t>
        <a:bodyPr/>
        <a:lstStyle/>
        <a:p>
          <a:r>
            <a:rPr lang="en-US" sz="2000" dirty="0" smtClean="0"/>
            <a:t>What is NOSQL database</a:t>
          </a:r>
          <a:endParaRPr lang="en-US" sz="2000" dirty="0"/>
        </a:p>
      </dgm:t>
    </dgm:pt>
    <dgm:pt modelId="{F79A60F8-D086-456C-84D9-F7640903C47B}" type="parTrans" cxnId="{9BD649F8-23D6-43A3-B760-8023F4BFFA02}">
      <dgm:prSet/>
      <dgm:spPr/>
      <dgm:t>
        <a:bodyPr/>
        <a:lstStyle/>
        <a:p>
          <a:endParaRPr lang="en-US" sz="2000"/>
        </a:p>
      </dgm:t>
    </dgm:pt>
    <dgm:pt modelId="{2E5C2E2F-FCE9-43FD-8309-377B0BA5A495}" type="sibTrans" cxnId="{9BD649F8-23D6-43A3-B760-8023F4BFFA02}">
      <dgm:prSet/>
      <dgm:spPr/>
      <dgm:t>
        <a:bodyPr/>
        <a:lstStyle/>
        <a:p>
          <a:endParaRPr lang="en-US" sz="2000"/>
        </a:p>
      </dgm:t>
    </dgm:pt>
    <dgm:pt modelId="{D19F1385-A786-49D8-B49A-950813EDFB44}">
      <dgm:prSet phldrT="[Text]" custT="1"/>
      <dgm:spPr/>
      <dgm:t>
        <a:bodyPr/>
        <a:lstStyle/>
        <a:p>
          <a:r>
            <a:rPr lang="en-US" sz="2000" dirty="0" smtClean="0"/>
            <a:t>Advantages of NOSQL</a:t>
          </a:r>
          <a:endParaRPr lang="en-US" sz="2000" dirty="0"/>
        </a:p>
      </dgm:t>
    </dgm:pt>
    <dgm:pt modelId="{3765034E-E428-4BA3-8F85-78C70C75B915}" type="parTrans" cxnId="{7358D161-EA34-4867-A536-7CF7F085E9D0}">
      <dgm:prSet/>
      <dgm:spPr/>
      <dgm:t>
        <a:bodyPr/>
        <a:lstStyle/>
        <a:p>
          <a:endParaRPr lang="en-US" sz="2000"/>
        </a:p>
      </dgm:t>
    </dgm:pt>
    <dgm:pt modelId="{E4AEAD24-82BF-4CBB-90EC-CD5407B7DF8B}" type="sibTrans" cxnId="{7358D161-EA34-4867-A536-7CF7F085E9D0}">
      <dgm:prSet/>
      <dgm:spPr/>
      <dgm:t>
        <a:bodyPr/>
        <a:lstStyle/>
        <a:p>
          <a:endParaRPr lang="en-US" sz="2000"/>
        </a:p>
      </dgm:t>
    </dgm:pt>
    <dgm:pt modelId="{42690E91-1807-4D33-8F3E-43246FBE1BB4}">
      <dgm:prSet phldrT="[Text]" custT="1"/>
      <dgm:spPr/>
      <dgm:t>
        <a:bodyPr/>
        <a:lstStyle/>
        <a:p>
          <a:r>
            <a:rPr lang="en-US" sz="2000" dirty="0" smtClean="0"/>
            <a:t>Why MongoDB </a:t>
          </a:r>
          <a:endParaRPr lang="en-US" sz="2000" dirty="0"/>
        </a:p>
      </dgm:t>
    </dgm:pt>
    <dgm:pt modelId="{6A449DEC-8C6D-4B92-A0EF-616BE588C1F2}" type="parTrans" cxnId="{ADA4E962-9925-4EF7-9EAC-F85009D24B6E}">
      <dgm:prSet/>
      <dgm:spPr/>
      <dgm:t>
        <a:bodyPr/>
        <a:lstStyle/>
        <a:p>
          <a:endParaRPr lang="en-US" sz="2000"/>
        </a:p>
      </dgm:t>
    </dgm:pt>
    <dgm:pt modelId="{BBC99E79-CB89-430C-AE0D-F3BEE95B645B}" type="sibTrans" cxnId="{ADA4E962-9925-4EF7-9EAC-F85009D24B6E}">
      <dgm:prSet/>
      <dgm:spPr/>
      <dgm:t>
        <a:bodyPr/>
        <a:lstStyle/>
        <a:p>
          <a:endParaRPr lang="en-US" sz="2000"/>
        </a:p>
      </dgm:t>
    </dgm:pt>
    <dgm:pt modelId="{E842D6F7-1F46-46DB-B5F0-47B5533B95CF}">
      <dgm:prSet phldrT="[Text]" custT="1"/>
      <dgm:spPr/>
      <dgm:t>
        <a:bodyPr/>
        <a:lstStyle/>
        <a:p>
          <a:r>
            <a:rPr lang="en-US" sz="2000" dirty="0" smtClean="0"/>
            <a:t>MongoDB Document database</a:t>
          </a:r>
          <a:endParaRPr lang="en-US" sz="2000" dirty="0"/>
        </a:p>
      </dgm:t>
    </dgm:pt>
    <dgm:pt modelId="{20E97BB2-E21D-4F60-9AB0-24120929D1D9}" type="parTrans" cxnId="{A4AB7C07-A229-454B-B8B6-4453E2393743}">
      <dgm:prSet/>
      <dgm:spPr/>
      <dgm:t>
        <a:bodyPr/>
        <a:lstStyle/>
        <a:p>
          <a:endParaRPr lang="en-US" sz="2000"/>
        </a:p>
      </dgm:t>
    </dgm:pt>
    <dgm:pt modelId="{4A8AD402-80A1-4C9E-A446-409BF2712524}" type="sibTrans" cxnId="{A4AB7C07-A229-454B-B8B6-4453E2393743}">
      <dgm:prSet/>
      <dgm:spPr/>
      <dgm:t>
        <a:bodyPr/>
        <a:lstStyle/>
        <a:p>
          <a:endParaRPr lang="en-US" sz="2000"/>
        </a:p>
      </dgm:t>
    </dgm:pt>
    <dgm:pt modelId="{664D86AC-3275-47F1-9589-098CE654210D}">
      <dgm:prSet phldrT="[Text]" custT="1"/>
      <dgm:spPr/>
      <dgm:t>
        <a:bodyPr/>
        <a:lstStyle/>
        <a:p>
          <a:r>
            <a:rPr lang="en-US" sz="2000" dirty="0" smtClean="0"/>
            <a:t>MongoDB data model</a:t>
          </a:r>
          <a:endParaRPr lang="en-US" sz="2000" dirty="0"/>
        </a:p>
      </dgm:t>
    </dgm:pt>
    <dgm:pt modelId="{B8DC9A77-61BA-4835-A600-2BF2999D6BCF}" type="parTrans" cxnId="{9EA461F2-A08A-4F19-97B6-8015AB0D12C2}">
      <dgm:prSet/>
      <dgm:spPr/>
      <dgm:t>
        <a:bodyPr/>
        <a:lstStyle/>
        <a:p>
          <a:endParaRPr lang="en-US" sz="2000"/>
        </a:p>
      </dgm:t>
    </dgm:pt>
    <dgm:pt modelId="{98447D84-C035-4564-A643-B6248B0557A8}" type="sibTrans" cxnId="{9EA461F2-A08A-4F19-97B6-8015AB0D12C2}">
      <dgm:prSet/>
      <dgm:spPr/>
      <dgm:t>
        <a:bodyPr/>
        <a:lstStyle/>
        <a:p>
          <a:endParaRPr lang="en-US" sz="2000"/>
        </a:p>
      </dgm:t>
    </dgm:pt>
    <dgm:pt modelId="{F7EB8A9A-47DE-4671-948F-5001CAB97660}">
      <dgm:prSet phldrT="[Text]" custT="1"/>
      <dgm:spPr/>
      <dgm:t>
        <a:bodyPr/>
        <a:lstStyle/>
        <a:p>
          <a:r>
            <a:rPr lang="en-US" sz="2000" dirty="0" smtClean="0"/>
            <a:t>Mongo Shell</a:t>
          </a:r>
          <a:endParaRPr lang="en-US" sz="2000" dirty="0"/>
        </a:p>
      </dgm:t>
    </dgm:pt>
    <dgm:pt modelId="{C4AA5749-C072-48F4-992E-CC2905E48598}" type="parTrans" cxnId="{17B58EAC-6BA9-49DA-A6BD-2C14CD89F348}">
      <dgm:prSet/>
      <dgm:spPr/>
      <dgm:t>
        <a:bodyPr/>
        <a:lstStyle/>
        <a:p>
          <a:endParaRPr lang="en-US" sz="2000"/>
        </a:p>
      </dgm:t>
    </dgm:pt>
    <dgm:pt modelId="{2487AB54-41D7-4663-A109-BEDE5665C0A0}" type="sibTrans" cxnId="{17B58EAC-6BA9-49DA-A6BD-2C14CD89F348}">
      <dgm:prSet/>
      <dgm:spPr/>
      <dgm:t>
        <a:bodyPr/>
        <a:lstStyle/>
        <a:p>
          <a:endParaRPr lang="en-US" sz="2000"/>
        </a:p>
      </dgm:t>
    </dgm:pt>
    <dgm:pt modelId="{58F54A1A-9F30-43A4-BF01-C388D455BE4B}">
      <dgm:prSet phldrT="[Text]" custT="1"/>
      <dgm:spPr/>
      <dgm:t>
        <a:bodyPr/>
        <a:lstStyle/>
        <a:p>
          <a:r>
            <a:rPr lang="en-US" sz="2000" dirty="0" smtClean="0"/>
            <a:t>Establishing Connection</a:t>
          </a:r>
          <a:endParaRPr lang="en-US" sz="2000" dirty="0"/>
        </a:p>
      </dgm:t>
    </dgm:pt>
    <dgm:pt modelId="{F8A313B8-798D-4DE7-B075-F022A06C924B}" type="parTrans" cxnId="{6F7BF0BC-46B2-4D2F-98ED-215E6BE390E3}">
      <dgm:prSet/>
      <dgm:spPr/>
      <dgm:t>
        <a:bodyPr/>
        <a:lstStyle/>
        <a:p>
          <a:endParaRPr lang="en-US" sz="2000"/>
        </a:p>
      </dgm:t>
    </dgm:pt>
    <dgm:pt modelId="{D1A0AD74-9BEB-4DEF-BC75-F55324E9FF80}" type="sibTrans" cxnId="{6F7BF0BC-46B2-4D2F-98ED-215E6BE390E3}">
      <dgm:prSet/>
      <dgm:spPr/>
      <dgm:t>
        <a:bodyPr/>
        <a:lstStyle/>
        <a:p>
          <a:endParaRPr lang="en-US" sz="2000"/>
        </a:p>
      </dgm:t>
    </dgm:pt>
    <dgm:pt modelId="{6B1A5A63-0E88-4192-B896-9DB2569A2DBC}">
      <dgm:prSet phldrT="[Text]" custT="1"/>
      <dgm:spPr/>
      <dgm:t>
        <a:bodyPr/>
        <a:lstStyle/>
        <a:p>
          <a:r>
            <a:rPr lang="en-US" sz="2000" dirty="0" smtClean="0"/>
            <a:t>Understand about </a:t>
          </a:r>
          <a:r>
            <a:rPr lang="en-US" sz="2000" dirty="0" smtClean="0"/>
            <a:t>Collection</a:t>
          </a:r>
          <a:endParaRPr lang="en-US" sz="2000" dirty="0" smtClean="0"/>
        </a:p>
        <a:p>
          <a:r>
            <a:rPr lang="en-US" sz="2000" dirty="0" smtClean="0"/>
            <a:t>on, document and fields</a:t>
          </a:r>
          <a:endParaRPr lang="en-US" sz="2000" dirty="0"/>
        </a:p>
      </dgm:t>
    </dgm:pt>
    <dgm:pt modelId="{DF4D7B29-CEA3-4C47-AD41-E99D76BA5780}" type="parTrans" cxnId="{C0DBC9B3-ECC6-4EF1-9E5B-9548B2444B77}">
      <dgm:prSet/>
      <dgm:spPr/>
      <dgm:t>
        <a:bodyPr/>
        <a:lstStyle/>
        <a:p>
          <a:endParaRPr lang="en-US" sz="2000"/>
        </a:p>
      </dgm:t>
    </dgm:pt>
    <dgm:pt modelId="{D11D3C86-92D7-4B74-9DE3-EE579C1BBF04}" type="sibTrans" cxnId="{C0DBC9B3-ECC6-4EF1-9E5B-9548B2444B77}">
      <dgm:prSet/>
      <dgm:spPr/>
      <dgm:t>
        <a:bodyPr/>
        <a:lstStyle/>
        <a:p>
          <a:endParaRPr lang="en-US" sz="2000"/>
        </a:p>
      </dgm:t>
    </dgm:pt>
    <dgm:pt modelId="{14A6A46F-E124-4DB8-8664-D8CAC28B157C}" type="pres">
      <dgm:prSet presAssocID="{D540B9B7-4C98-41E1-A53E-CE1259741179}" presName="linear" presStyleCnt="0">
        <dgm:presLayoutVars>
          <dgm:animLvl val="lvl"/>
          <dgm:resizeHandles val="exact"/>
        </dgm:presLayoutVars>
      </dgm:prSet>
      <dgm:spPr/>
      <dgm:t>
        <a:bodyPr/>
        <a:lstStyle/>
        <a:p>
          <a:endParaRPr lang="en-US"/>
        </a:p>
      </dgm:t>
    </dgm:pt>
    <dgm:pt modelId="{3B3D4DAD-84E4-4C0D-A77A-71DB20EA7F42}" type="pres">
      <dgm:prSet presAssocID="{A63D793C-8083-4DF3-A1A4-69140676DCC7}" presName="parentText" presStyleLbl="node1" presStyleIdx="0" presStyleCnt="8">
        <dgm:presLayoutVars>
          <dgm:chMax val="0"/>
          <dgm:bulletEnabled val="1"/>
        </dgm:presLayoutVars>
      </dgm:prSet>
      <dgm:spPr/>
      <dgm:t>
        <a:bodyPr/>
        <a:lstStyle/>
        <a:p>
          <a:endParaRPr lang="en-US"/>
        </a:p>
      </dgm:t>
    </dgm:pt>
    <dgm:pt modelId="{64AC3A56-9285-46DF-B3DC-DD48F1EA57F7}" type="pres">
      <dgm:prSet presAssocID="{2E5C2E2F-FCE9-43FD-8309-377B0BA5A495}" presName="spacer" presStyleCnt="0"/>
      <dgm:spPr/>
    </dgm:pt>
    <dgm:pt modelId="{D07FD76E-F7ED-4131-830B-421584A6753E}" type="pres">
      <dgm:prSet presAssocID="{D19F1385-A786-49D8-B49A-950813EDFB44}" presName="parentText" presStyleLbl="node1" presStyleIdx="1" presStyleCnt="8">
        <dgm:presLayoutVars>
          <dgm:chMax val="0"/>
          <dgm:bulletEnabled val="1"/>
        </dgm:presLayoutVars>
      </dgm:prSet>
      <dgm:spPr/>
      <dgm:t>
        <a:bodyPr/>
        <a:lstStyle/>
        <a:p>
          <a:endParaRPr lang="en-US"/>
        </a:p>
      </dgm:t>
    </dgm:pt>
    <dgm:pt modelId="{1793B073-7A44-4B45-8BA1-594D17ABFC27}" type="pres">
      <dgm:prSet presAssocID="{E4AEAD24-82BF-4CBB-90EC-CD5407B7DF8B}" presName="spacer" presStyleCnt="0"/>
      <dgm:spPr/>
    </dgm:pt>
    <dgm:pt modelId="{521EA97D-2682-40D2-903C-71487C654160}" type="pres">
      <dgm:prSet presAssocID="{42690E91-1807-4D33-8F3E-43246FBE1BB4}" presName="parentText" presStyleLbl="node1" presStyleIdx="2" presStyleCnt="8">
        <dgm:presLayoutVars>
          <dgm:chMax val="0"/>
          <dgm:bulletEnabled val="1"/>
        </dgm:presLayoutVars>
      </dgm:prSet>
      <dgm:spPr/>
      <dgm:t>
        <a:bodyPr/>
        <a:lstStyle/>
        <a:p>
          <a:endParaRPr lang="en-US"/>
        </a:p>
      </dgm:t>
    </dgm:pt>
    <dgm:pt modelId="{298A8A53-D66F-4333-B430-0A9E0D8AAB7E}" type="pres">
      <dgm:prSet presAssocID="{BBC99E79-CB89-430C-AE0D-F3BEE95B645B}" presName="spacer" presStyleCnt="0"/>
      <dgm:spPr/>
    </dgm:pt>
    <dgm:pt modelId="{183E26D2-0296-47DA-A77C-D61AC51A7E61}" type="pres">
      <dgm:prSet presAssocID="{E842D6F7-1F46-46DB-B5F0-47B5533B95CF}" presName="parentText" presStyleLbl="node1" presStyleIdx="3" presStyleCnt="8">
        <dgm:presLayoutVars>
          <dgm:chMax val="0"/>
          <dgm:bulletEnabled val="1"/>
        </dgm:presLayoutVars>
      </dgm:prSet>
      <dgm:spPr/>
      <dgm:t>
        <a:bodyPr/>
        <a:lstStyle/>
        <a:p>
          <a:endParaRPr lang="en-US"/>
        </a:p>
      </dgm:t>
    </dgm:pt>
    <dgm:pt modelId="{8C5A13AE-14D5-4071-9634-77562A9343F7}" type="pres">
      <dgm:prSet presAssocID="{4A8AD402-80A1-4C9E-A446-409BF2712524}" presName="spacer" presStyleCnt="0"/>
      <dgm:spPr/>
    </dgm:pt>
    <dgm:pt modelId="{7F242ADD-83A8-4B5B-A481-5D52B014AB47}" type="pres">
      <dgm:prSet presAssocID="{664D86AC-3275-47F1-9589-098CE654210D}" presName="parentText" presStyleLbl="node1" presStyleIdx="4" presStyleCnt="8">
        <dgm:presLayoutVars>
          <dgm:chMax val="0"/>
          <dgm:bulletEnabled val="1"/>
        </dgm:presLayoutVars>
      </dgm:prSet>
      <dgm:spPr/>
      <dgm:t>
        <a:bodyPr/>
        <a:lstStyle/>
        <a:p>
          <a:endParaRPr lang="en-US"/>
        </a:p>
      </dgm:t>
    </dgm:pt>
    <dgm:pt modelId="{B76F1645-195C-4908-A61C-695723D393DF}" type="pres">
      <dgm:prSet presAssocID="{98447D84-C035-4564-A643-B6248B0557A8}" presName="spacer" presStyleCnt="0"/>
      <dgm:spPr/>
    </dgm:pt>
    <dgm:pt modelId="{CBB7DB27-FC6A-4E28-917D-0300F17584B7}" type="pres">
      <dgm:prSet presAssocID="{F7EB8A9A-47DE-4671-948F-5001CAB97660}" presName="parentText" presStyleLbl="node1" presStyleIdx="5" presStyleCnt="8">
        <dgm:presLayoutVars>
          <dgm:chMax val="0"/>
          <dgm:bulletEnabled val="1"/>
        </dgm:presLayoutVars>
      </dgm:prSet>
      <dgm:spPr/>
      <dgm:t>
        <a:bodyPr/>
        <a:lstStyle/>
        <a:p>
          <a:endParaRPr lang="en-US"/>
        </a:p>
      </dgm:t>
    </dgm:pt>
    <dgm:pt modelId="{EA0F1B95-D92B-4496-AB51-FD1569BBF76B}" type="pres">
      <dgm:prSet presAssocID="{2487AB54-41D7-4663-A109-BEDE5665C0A0}" presName="spacer" presStyleCnt="0"/>
      <dgm:spPr/>
    </dgm:pt>
    <dgm:pt modelId="{6711257A-D50C-47BA-A5ED-6D6278D3C0F9}" type="pres">
      <dgm:prSet presAssocID="{58F54A1A-9F30-43A4-BF01-C388D455BE4B}" presName="parentText" presStyleLbl="node1" presStyleIdx="6" presStyleCnt="8">
        <dgm:presLayoutVars>
          <dgm:chMax val="0"/>
          <dgm:bulletEnabled val="1"/>
        </dgm:presLayoutVars>
      </dgm:prSet>
      <dgm:spPr/>
      <dgm:t>
        <a:bodyPr/>
        <a:lstStyle/>
        <a:p>
          <a:endParaRPr lang="en-US"/>
        </a:p>
      </dgm:t>
    </dgm:pt>
    <dgm:pt modelId="{6BB76471-3E22-4EC7-AAEA-9FCBFB45411F}" type="pres">
      <dgm:prSet presAssocID="{D1A0AD74-9BEB-4DEF-BC75-F55324E9FF80}" presName="spacer" presStyleCnt="0"/>
      <dgm:spPr/>
    </dgm:pt>
    <dgm:pt modelId="{ADEAD7EC-56FB-46AE-93C1-F0B63C3058B8}" type="pres">
      <dgm:prSet presAssocID="{6B1A5A63-0E88-4192-B896-9DB2569A2DBC}" presName="parentText" presStyleLbl="node1" presStyleIdx="7" presStyleCnt="8">
        <dgm:presLayoutVars>
          <dgm:chMax val="0"/>
          <dgm:bulletEnabled val="1"/>
        </dgm:presLayoutVars>
      </dgm:prSet>
      <dgm:spPr/>
      <dgm:t>
        <a:bodyPr/>
        <a:lstStyle/>
        <a:p>
          <a:endParaRPr lang="en-US"/>
        </a:p>
      </dgm:t>
    </dgm:pt>
  </dgm:ptLst>
  <dgm:cxnLst>
    <dgm:cxn modelId="{6F7BF0BC-46B2-4D2F-98ED-215E6BE390E3}" srcId="{D540B9B7-4C98-41E1-A53E-CE1259741179}" destId="{58F54A1A-9F30-43A4-BF01-C388D455BE4B}" srcOrd="6" destOrd="0" parTransId="{F8A313B8-798D-4DE7-B075-F022A06C924B}" sibTransId="{D1A0AD74-9BEB-4DEF-BC75-F55324E9FF80}"/>
    <dgm:cxn modelId="{7358D161-EA34-4867-A536-7CF7F085E9D0}" srcId="{D540B9B7-4C98-41E1-A53E-CE1259741179}" destId="{D19F1385-A786-49D8-B49A-950813EDFB44}" srcOrd="1" destOrd="0" parTransId="{3765034E-E428-4BA3-8F85-78C70C75B915}" sibTransId="{E4AEAD24-82BF-4CBB-90EC-CD5407B7DF8B}"/>
    <dgm:cxn modelId="{C0DBC9B3-ECC6-4EF1-9E5B-9548B2444B77}" srcId="{D540B9B7-4C98-41E1-A53E-CE1259741179}" destId="{6B1A5A63-0E88-4192-B896-9DB2569A2DBC}" srcOrd="7" destOrd="0" parTransId="{DF4D7B29-CEA3-4C47-AD41-E99D76BA5780}" sibTransId="{D11D3C86-92D7-4B74-9DE3-EE579C1BBF04}"/>
    <dgm:cxn modelId="{A7464383-C122-4E53-A703-69BD84AFF2A1}" type="presOf" srcId="{D540B9B7-4C98-41E1-A53E-CE1259741179}" destId="{14A6A46F-E124-4DB8-8664-D8CAC28B157C}" srcOrd="0" destOrd="0" presId="urn:microsoft.com/office/officeart/2005/8/layout/vList2"/>
    <dgm:cxn modelId="{F79D5859-EE50-4F55-A266-75EF89FE00E5}" type="presOf" srcId="{A63D793C-8083-4DF3-A1A4-69140676DCC7}" destId="{3B3D4DAD-84E4-4C0D-A77A-71DB20EA7F42}" srcOrd="0" destOrd="0" presId="urn:microsoft.com/office/officeart/2005/8/layout/vList2"/>
    <dgm:cxn modelId="{9BD649F8-23D6-43A3-B760-8023F4BFFA02}" srcId="{D540B9B7-4C98-41E1-A53E-CE1259741179}" destId="{A63D793C-8083-4DF3-A1A4-69140676DCC7}" srcOrd="0" destOrd="0" parTransId="{F79A60F8-D086-456C-84D9-F7640903C47B}" sibTransId="{2E5C2E2F-FCE9-43FD-8309-377B0BA5A495}"/>
    <dgm:cxn modelId="{ADA4E962-9925-4EF7-9EAC-F85009D24B6E}" srcId="{D540B9B7-4C98-41E1-A53E-CE1259741179}" destId="{42690E91-1807-4D33-8F3E-43246FBE1BB4}" srcOrd="2" destOrd="0" parTransId="{6A449DEC-8C6D-4B92-A0EF-616BE588C1F2}" sibTransId="{BBC99E79-CB89-430C-AE0D-F3BEE95B645B}"/>
    <dgm:cxn modelId="{17B58EAC-6BA9-49DA-A6BD-2C14CD89F348}" srcId="{D540B9B7-4C98-41E1-A53E-CE1259741179}" destId="{F7EB8A9A-47DE-4671-948F-5001CAB97660}" srcOrd="5" destOrd="0" parTransId="{C4AA5749-C072-48F4-992E-CC2905E48598}" sibTransId="{2487AB54-41D7-4663-A109-BEDE5665C0A0}"/>
    <dgm:cxn modelId="{315ED70D-E7DF-4E80-BC03-AB0BA1B03F37}" type="presOf" srcId="{D19F1385-A786-49D8-B49A-950813EDFB44}" destId="{D07FD76E-F7ED-4131-830B-421584A6753E}" srcOrd="0" destOrd="0" presId="urn:microsoft.com/office/officeart/2005/8/layout/vList2"/>
    <dgm:cxn modelId="{9EA461F2-A08A-4F19-97B6-8015AB0D12C2}" srcId="{D540B9B7-4C98-41E1-A53E-CE1259741179}" destId="{664D86AC-3275-47F1-9589-098CE654210D}" srcOrd="4" destOrd="0" parTransId="{B8DC9A77-61BA-4835-A600-2BF2999D6BCF}" sibTransId="{98447D84-C035-4564-A643-B6248B0557A8}"/>
    <dgm:cxn modelId="{5CABB296-CBF1-480D-9A3C-DDF4BFB402CD}" type="presOf" srcId="{664D86AC-3275-47F1-9589-098CE654210D}" destId="{7F242ADD-83A8-4B5B-A481-5D52B014AB47}" srcOrd="0" destOrd="0" presId="urn:microsoft.com/office/officeart/2005/8/layout/vList2"/>
    <dgm:cxn modelId="{07229E5D-6484-46DE-9992-B857A218FDC4}" type="presOf" srcId="{42690E91-1807-4D33-8F3E-43246FBE1BB4}" destId="{521EA97D-2682-40D2-903C-71487C654160}" srcOrd="0" destOrd="0" presId="urn:microsoft.com/office/officeart/2005/8/layout/vList2"/>
    <dgm:cxn modelId="{A4AB7C07-A229-454B-B8B6-4453E2393743}" srcId="{D540B9B7-4C98-41E1-A53E-CE1259741179}" destId="{E842D6F7-1F46-46DB-B5F0-47B5533B95CF}" srcOrd="3" destOrd="0" parTransId="{20E97BB2-E21D-4F60-9AB0-24120929D1D9}" sibTransId="{4A8AD402-80A1-4C9E-A446-409BF2712524}"/>
    <dgm:cxn modelId="{73D354AE-8159-489C-BF7F-2BF60F100086}" type="presOf" srcId="{6B1A5A63-0E88-4192-B896-9DB2569A2DBC}" destId="{ADEAD7EC-56FB-46AE-93C1-F0B63C3058B8}" srcOrd="0" destOrd="0" presId="urn:microsoft.com/office/officeart/2005/8/layout/vList2"/>
    <dgm:cxn modelId="{BF8E6E86-E6C3-4A5D-89BE-F1783E86EB8E}" type="presOf" srcId="{E842D6F7-1F46-46DB-B5F0-47B5533B95CF}" destId="{183E26D2-0296-47DA-A77C-D61AC51A7E61}" srcOrd="0" destOrd="0" presId="urn:microsoft.com/office/officeart/2005/8/layout/vList2"/>
    <dgm:cxn modelId="{32E2DC8D-1C66-4630-ABBD-53F4FB445EE8}" type="presOf" srcId="{F7EB8A9A-47DE-4671-948F-5001CAB97660}" destId="{CBB7DB27-FC6A-4E28-917D-0300F17584B7}" srcOrd="0" destOrd="0" presId="urn:microsoft.com/office/officeart/2005/8/layout/vList2"/>
    <dgm:cxn modelId="{5C0B1045-912F-4C23-9257-1A6960F7442E}" type="presOf" srcId="{58F54A1A-9F30-43A4-BF01-C388D455BE4B}" destId="{6711257A-D50C-47BA-A5ED-6D6278D3C0F9}" srcOrd="0" destOrd="0" presId="urn:microsoft.com/office/officeart/2005/8/layout/vList2"/>
    <dgm:cxn modelId="{338E2566-947E-4CA0-BF18-EC7AEE67F7CE}" type="presParOf" srcId="{14A6A46F-E124-4DB8-8664-D8CAC28B157C}" destId="{3B3D4DAD-84E4-4C0D-A77A-71DB20EA7F42}" srcOrd="0" destOrd="0" presId="urn:microsoft.com/office/officeart/2005/8/layout/vList2"/>
    <dgm:cxn modelId="{069C9F12-6B8D-4317-ABF0-BB4C77AA204D}" type="presParOf" srcId="{14A6A46F-E124-4DB8-8664-D8CAC28B157C}" destId="{64AC3A56-9285-46DF-B3DC-DD48F1EA57F7}" srcOrd="1" destOrd="0" presId="urn:microsoft.com/office/officeart/2005/8/layout/vList2"/>
    <dgm:cxn modelId="{DB439566-A29B-4789-B78A-28BA943E50E7}" type="presParOf" srcId="{14A6A46F-E124-4DB8-8664-D8CAC28B157C}" destId="{D07FD76E-F7ED-4131-830B-421584A6753E}" srcOrd="2" destOrd="0" presId="urn:microsoft.com/office/officeart/2005/8/layout/vList2"/>
    <dgm:cxn modelId="{47510B9B-6534-48BC-B8E0-2798700DE0F5}" type="presParOf" srcId="{14A6A46F-E124-4DB8-8664-D8CAC28B157C}" destId="{1793B073-7A44-4B45-8BA1-594D17ABFC27}" srcOrd="3" destOrd="0" presId="urn:microsoft.com/office/officeart/2005/8/layout/vList2"/>
    <dgm:cxn modelId="{A17706A9-F1AD-4895-84E6-6AE336995B84}" type="presParOf" srcId="{14A6A46F-E124-4DB8-8664-D8CAC28B157C}" destId="{521EA97D-2682-40D2-903C-71487C654160}" srcOrd="4" destOrd="0" presId="urn:microsoft.com/office/officeart/2005/8/layout/vList2"/>
    <dgm:cxn modelId="{978782AD-361F-4C5E-8CD6-551B09EFEE8F}" type="presParOf" srcId="{14A6A46F-E124-4DB8-8664-D8CAC28B157C}" destId="{298A8A53-D66F-4333-B430-0A9E0D8AAB7E}" srcOrd="5" destOrd="0" presId="urn:microsoft.com/office/officeart/2005/8/layout/vList2"/>
    <dgm:cxn modelId="{494C6D55-C09D-4827-BEB0-CC850F3E2DF2}" type="presParOf" srcId="{14A6A46F-E124-4DB8-8664-D8CAC28B157C}" destId="{183E26D2-0296-47DA-A77C-D61AC51A7E61}" srcOrd="6" destOrd="0" presId="urn:microsoft.com/office/officeart/2005/8/layout/vList2"/>
    <dgm:cxn modelId="{FBEF9F8E-B19D-4518-A739-DC79DA590532}" type="presParOf" srcId="{14A6A46F-E124-4DB8-8664-D8CAC28B157C}" destId="{8C5A13AE-14D5-4071-9634-77562A9343F7}" srcOrd="7" destOrd="0" presId="urn:microsoft.com/office/officeart/2005/8/layout/vList2"/>
    <dgm:cxn modelId="{95F86E01-C42C-4D81-BC32-B5841FD3C3D4}" type="presParOf" srcId="{14A6A46F-E124-4DB8-8664-D8CAC28B157C}" destId="{7F242ADD-83A8-4B5B-A481-5D52B014AB47}" srcOrd="8" destOrd="0" presId="urn:microsoft.com/office/officeart/2005/8/layout/vList2"/>
    <dgm:cxn modelId="{67A65123-007E-4299-96B5-67679622898A}" type="presParOf" srcId="{14A6A46F-E124-4DB8-8664-D8CAC28B157C}" destId="{B76F1645-195C-4908-A61C-695723D393DF}" srcOrd="9" destOrd="0" presId="urn:microsoft.com/office/officeart/2005/8/layout/vList2"/>
    <dgm:cxn modelId="{E46EDBFA-C7DA-4C07-8D86-BF0BAE463E7D}" type="presParOf" srcId="{14A6A46F-E124-4DB8-8664-D8CAC28B157C}" destId="{CBB7DB27-FC6A-4E28-917D-0300F17584B7}" srcOrd="10" destOrd="0" presId="urn:microsoft.com/office/officeart/2005/8/layout/vList2"/>
    <dgm:cxn modelId="{D51CFF17-C367-4ED6-95C8-089BC58D084C}" type="presParOf" srcId="{14A6A46F-E124-4DB8-8664-D8CAC28B157C}" destId="{EA0F1B95-D92B-4496-AB51-FD1569BBF76B}" srcOrd="11" destOrd="0" presId="urn:microsoft.com/office/officeart/2005/8/layout/vList2"/>
    <dgm:cxn modelId="{10AC7C10-25D5-40EF-8FC4-904E30CEE2EF}" type="presParOf" srcId="{14A6A46F-E124-4DB8-8664-D8CAC28B157C}" destId="{6711257A-D50C-47BA-A5ED-6D6278D3C0F9}" srcOrd="12" destOrd="0" presId="urn:microsoft.com/office/officeart/2005/8/layout/vList2"/>
    <dgm:cxn modelId="{95B2E167-B8B0-4510-BAE5-F961D2528089}" type="presParOf" srcId="{14A6A46F-E124-4DB8-8664-D8CAC28B157C}" destId="{6BB76471-3E22-4EC7-AAEA-9FCBFB45411F}" srcOrd="13" destOrd="0" presId="urn:microsoft.com/office/officeart/2005/8/layout/vList2"/>
    <dgm:cxn modelId="{2F693D2D-1D54-4527-991F-B1D2FC8F46AE}" type="presParOf" srcId="{14A6A46F-E124-4DB8-8664-D8CAC28B157C}" destId="{ADEAD7EC-56FB-46AE-93C1-F0B63C3058B8}"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896A4C-8812-4B71-B060-6063CD51B00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5087028-A346-4ED8-94E4-B541F87EB696}">
      <dgm:prSet phldrT="[Text]" custT="1"/>
      <dgm:spPr/>
      <dgm:t>
        <a:bodyPr/>
        <a:lstStyle/>
        <a:p>
          <a:r>
            <a:rPr lang="en-US" sz="1800" dirty="0" smtClean="0">
              <a:latin typeface="+mn-lt"/>
              <a:ea typeface="Calibri" pitchFamily="34" charset="0"/>
              <a:cs typeface="Calibri" pitchFamily="34" charset="0"/>
            </a:rPr>
            <a:t>MongoDB does not need any pre-defined data schema.</a:t>
          </a:r>
          <a:endParaRPr lang="en-US" sz="1800" dirty="0">
            <a:latin typeface="+mn-lt"/>
          </a:endParaRPr>
        </a:p>
      </dgm:t>
    </dgm:pt>
    <dgm:pt modelId="{FD8DD88E-9E78-41C8-9660-5621B15D5667}" type="parTrans" cxnId="{DC93E514-A776-49AC-9EDA-008ADF6E0F6F}">
      <dgm:prSet/>
      <dgm:spPr/>
      <dgm:t>
        <a:bodyPr/>
        <a:lstStyle/>
        <a:p>
          <a:endParaRPr lang="en-US" sz="1800">
            <a:latin typeface="+mn-lt"/>
          </a:endParaRPr>
        </a:p>
      </dgm:t>
    </dgm:pt>
    <dgm:pt modelId="{DC5C8B6F-39C7-4A39-BAD3-704E944038E2}" type="sibTrans" cxnId="{DC93E514-A776-49AC-9EDA-008ADF6E0F6F}">
      <dgm:prSet/>
      <dgm:spPr/>
      <dgm:t>
        <a:bodyPr/>
        <a:lstStyle/>
        <a:p>
          <a:endParaRPr lang="en-US" sz="1800">
            <a:latin typeface="+mn-lt"/>
          </a:endParaRPr>
        </a:p>
      </dgm:t>
    </dgm:pt>
    <dgm:pt modelId="{88DFD705-7138-4224-BB9B-167DE5B7F1E8}">
      <dgm:prSet phldrT="[Text]" custT="1"/>
      <dgm:spPr/>
      <dgm:t>
        <a:bodyPr/>
        <a:lstStyle/>
        <a:p>
          <a:r>
            <a:rPr lang="en-US" sz="1800" dirty="0" smtClean="0">
              <a:latin typeface="+mn-lt"/>
              <a:ea typeface="Calibri" pitchFamily="34" charset="0"/>
              <a:cs typeface="Calibri" pitchFamily="34" charset="0"/>
            </a:rPr>
            <a:t>Every document could have different data!</a:t>
          </a:r>
          <a:endParaRPr lang="en-US" sz="1800" dirty="0">
            <a:latin typeface="+mn-lt"/>
          </a:endParaRPr>
        </a:p>
      </dgm:t>
    </dgm:pt>
    <dgm:pt modelId="{A4CCDE6E-598C-4C1C-A038-E73E983F2455}" type="parTrans" cxnId="{25C0ED8F-60F1-410F-AADF-66CF6F690CC0}">
      <dgm:prSet/>
      <dgm:spPr/>
      <dgm:t>
        <a:bodyPr/>
        <a:lstStyle/>
        <a:p>
          <a:endParaRPr lang="en-US" sz="1800">
            <a:latin typeface="+mn-lt"/>
          </a:endParaRPr>
        </a:p>
      </dgm:t>
    </dgm:pt>
    <dgm:pt modelId="{6039C97A-6B7C-4B44-89F3-1ED66364571C}" type="sibTrans" cxnId="{25C0ED8F-60F1-410F-AADF-66CF6F690CC0}">
      <dgm:prSet/>
      <dgm:spPr/>
      <dgm:t>
        <a:bodyPr/>
        <a:lstStyle/>
        <a:p>
          <a:endParaRPr lang="en-US" sz="1800">
            <a:latin typeface="+mn-lt"/>
          </a:endParaRPr>
        </a:p>
      </dgm:t>
    </dgm:pt>
    <dgm:pt modelId="{70420C77-5906-48A8-AD24-A1EEFE5AB410}" type="pres">
      <dgm:prSet presAssocID="{7E896A4C-8812-4B71-B060-6063CD51B007}" presName="linear" presStyleCnt="0">
        <dgm:presLayoutVars>
          <dgm:animLvl val="lvl"/>
          <dgm:resizeHandles val="exact"/>
        </dgm:presLayoutVars>
      </dgm:prSet>
      <dgm:spPr/>
      <dgm:t>
        <a:bodyPr/>
        <a:lstStyle/>
        <a:p>
          <a:endParaRPr lang="en-US"/>
        </a:p>
      </dgm:t>
    </dgm:pt>
    <dgm:pt modelId="{76D0AF37-EDDA-4820-9154-1A5D06098700}" type="pres">
      <dgm:prSet presAssocID="{D5087028-A346-4ED8-94E4-B541F87EB696}" presName="parentText" presStyleLbl="node1" presStyleIdx="0" presStyleCnt="2">
        <dgm:presLayoutVars>
          <dgm:chMax val="0"/>
          <dgm:bulletEnabled val="1"/>
        </dgm:presLayoutVars>
      </dgm:prSet>
      <dgm:spPr/>
      <dgm:t>
        <a:bodyPr/>
        <a:lstStyle/>
        <a:p>
          <a:endParaRPr lang="en-US"/>
        </a:p>
      </dgm:t>
    </dgm:pt>
    <dgm:pt modelId="{2F5DF172-B3E0-4326-9942-87AF839AAAD8}" type="pres">
      <dgm:prSet presAssocID="{DC5C8B6F-39C7-4A39-BAD3-704E944038E2}" presName="spacer" presStyleCnt="0"/>
      <dgm:spPr/>
    </dgm:pt>
    <dgm:pt modelId="{2A437644-D085-4852-9A8C-81871287A1BF}" type="pres">
      <dgm:prSet presAssocID="{88DFD705-7138-4224-BB9B-167DE5B7F1E8}" presName="parentText" presStyleLbl="node1" presStyleIdx="1" presStyleCnt="2">
        <dgm:presLayoutVars>
          <dgm:chMax val="0"/>
          <dgm:bulletEnabled val="1"/>
        </dgm:presLayoutVars>
      </dgm:prSet>
      <dgm:spPr/>
      <dgm:t>
        <a:bodyPr/>
        <a:lstStyle/>
        <a:p>
          <a:endParaRPr lang="en-US"/>
        </a:p>
      </dgm:t>
    </dgm:pt>
  </dgm:ptLst>
  <dgm:cxnLst>
    <dgm:cxn modelId="{25C0ED8F-60F1-410F-AADF-66CF6F690CC0}" srcId="{7E896A4C-8812-4B71-B060-6063CD51B007}" destId="{88DFD705-7138-4224-BB9B-167DE5B7F1E8}" srcOrd="1" destOrd="0" parTransId="{A4CCDE6E-598C-4C1C-A038-E73E983F2455}" sibTransId="{6039C97A-6B7C-4B44-89F3-1ED66364571C}"/>
    <dgm:cxn modelId="{8C9E18CC-3E50-431D-9460-BFCD417FB804}" type="presOf" srcId="{88DFD705-7138-4224-BB9B-167DE5B7F1E8}" destId="{2A437644-D085-4852-9A8C-81871287A1BF}" srcOrd="0" destOrd="0" presId="urn:microsoft.com/office/officeart/2005/8/layout/vList2"/>
    <dgm:cxn modelId="{648FCCBF-2619-4326-9581-6D75226AECCF}" type="presOf" srcId="{7E896A4C-8812-4B71-B060-6063CD51B007}" destId="{70420C77-5906-48A8-AD24-A1EEFE5AB410}" srcOrd="0" destOrd="0" presId="urn:microsoft.com/office/officeart/2005/8/layout/vList2"/>
    <dgm:cxn modelId="{DC93E514-A776-49AC-9EDA-008ADF6E0F6F}" srcId="{7E896A4C-8812-4B71-B060-6063CD51B007}" destId="{D5087028-A346-4ED8-94E4-B541F87EB696}" srcOrd="0" destOrd="0" parTransId="{FD8DD88E-9E78-41C8-9660-5621B15D5667}" sibTransId="{DC5C8B6F-39C7-4A39-BAD3-704E944038E2}"/>
    <dgm:cxn modelId="{1FFDF6A7-D1BE-41A6-BEC3-A703A13C9492}" type="presOf" srcId="{D5087028-A346-4ED8-94E4-B541F87EB696}" destId="{76D0AF37-EDDA-4820-9154-1A5D06098700}" srcOrd="0" destOrd="0" presId="urn:microsoft.com/office/officeart/2005/8/layout/vList2"/>
    <dgm:cxn modelId="{BAF6B4AB-BD81-444F-A237-8DC4B23099F0}" type="presParOf" srcId="{70420C77-5906-48A8-AD24-A1EEFE5AB410}" destId="{76D0AF37-EDDA-4820-9154-1A5D06098700}" srcOrd="0" destOrd="0" presId="urn:microsoft.com/office/officeart/2005/8/layout/vList2"/>
    <dgm:cxn modelId="{C1EB9D23-FE92-4944-A9D5-003836629B44}" type="presParOf" srcId="{70420C77-5906-48A8-AD24-A1EEFE5AB410}" destId="{2F5DF172-B3E0-4326-9942-87AF839AAAD8}" srcOrd="1" destOrd="0" presId="urn:microsoft.com/office/officeart/2005/8/layout/vList2"/>
    <dgm:cxn modelId="{622D22D9-739F-457F-9F9B-A6F3A7A6206A}" type="presParOf" srcId="{70420C77-5906-48A8-AD24-A1EEFE5AB410}" destId="{2A437644-D085-4852-9A8C-81871287A1BF}"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BA67160-E6CC-41E5-A6BA-F235373C13A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C98C9C9-2A01-4EC9-BB76-A3B53D283199}">
      <dgm:prSet phldrT="[Text]" custT="1"/>
      <dgm:spPr/>
      <dgm:t>
        <a:bodyPr/>
        <a:lstStyle/>
        <a:p>
          <a:r>
            <a:rPr lang="en-US" sz="1800" dirty="0" smtClean="0"/>
            <a:t>Document Oriented Database</a:t>
          </a:r>
          <a:endParaRPr lang="en-US" sz="1800" dirty="0"/>
        </a:p>
      </dgm:t>
    </dgm:pt>
    <dgm:pt modelId="{74AA7EFA-CCEA-4C63-A90D-56485A093DF0}" type="parTrans" cxnId="{78CB124D-1E99-4966-8F50-C6995E21EB42}">
      <dgm:prSet/>
      <dgm:spPr/>
      <dgm:t>
        <a:bodyPr/>
        <a:lstStyle/>
        <a:p>
          <a:endParaRPr lang="en-US" sz="1800"/>
        </a:p>
      </dgm:t>
    </dgm:pt>
    <dgm:pt modelId="{BC6C2841-B710-4F98-8ED8-4DF02CFE5E29}" type="sibTrans" cxnId="{78CB124D-1E99-4966-8F50-C6995E21EB42}">
      <dgm:prSet/>
      <dgm:spPr/>
      <dgm:t>
        <a:bodyPr/>
        <a:lstStyle/>
        <a:p>
          <a:endParaRPr lang="en-US" sz="1800"/>
        </a:p>
      </dgm:t>
    </dgm:pt>
    <dgm:pt modelId="{B1AC512D-2DB9-4596-8B42-B294D084B401}">
      <dgm:prSet phldrT="[Text]" custT="1"/>
      <dgm:spPr/>
      <dgm:t>
        <a:bodyPr/>
        <a:lstStyle/>
        <a:p>
          <a:r>
            <a:rPr lang="en-US" sz="1800" dirty="0" smtClean="0"/>
            <a:t>Adhoc queries</a:t>
          </a:r>
          <a:endParaRPr lang="en-US" sz="1800" dirty="0"/>
        </a:p>
      </dgm:t>
    </dgm:pt>
    <dgm:pt modelId="{3AF151D9-0976-4F7B-9D4F-09A7D1C90F51}" type="parTrans" cxnId="{0E71768D-E692-43F5-A668-0A50F431964D}">
      <dgm:prSet/>
      <dgm:spPr/>
      <dgm:t>
        <a:bodyPr/>
        <a:lstStyle/>
        <a:p>
          <a:endParaRPr lang="en-US" sz="1800"/>
        </a:p>
      </dgm:t>
    </dgm:pt>
    <dgm:pt modelId="{21E4F812-71B2-45A9-B05D-26E6D5F790DD}" type="sibTrans" cxnId="{0E71768D-E692-43F5-A668-0A50F431964D}">
      <dgm:prSet/>
      <dgm:spPr/>
      <dgm:t>
        <a:bodyPr/>
        <a:lstStyle/>
        <a:p>
          <a:endParaRPr lang="en-US" sz="1800"/>
        </a:p>
      </dgm:t>
    </dgm:pt>
    <dgm:pt modelId="{5077EF2E-C32F-4209-BF87-DC12123C7F45}">
      <dgm:prSet phldrT="[Text]" custT="1"/>
      <dgm:spPr/>
      <dgm:t>
        <a:bodyPr/>
        <a:lstStyle/>
        <a:p>
          <a:r>
            <a:rPr lang="en-US" sz="1800" dirty="0" smtClean="0"/>
            <a:t>Indexing</a:t>
          </a:r>
          <a:endParaRPr lang="en-US" sz="1800" dirty="0"/>
        </a:p>
      </dgm:t>
    </dgm:pt>
    <dgm:pt modelId="{7F055220-3CF1-460E-BF54-5628F6CD9C94}" type="parTrans" cxnId="{8228AA72-A58B-4C38-8C1A-915006476495}">
      <dgm:prSet/>
      <dgm:spPr/>
      <dgm:t>
        <a:bodyPr/>
        <a:lstStyle/>
        <a:p>
          <a:endParaRPr lang="en-US" sz="1800"/>
        </a:p>
      </dgm:t>
    </dgm:pt>
    <dgm:pt modelId="{7B8D12FB-D5E4-4549-9511-A46F10E49738}" type="sibTrans" cxnId="{8228AA72-A58B-4C38-8C1A-915006476495}">
      <dgm:prSet/>
      <dgm:spPr/>
      <dgm:t>
        <a:bodyPr/>
        <a:lstStyle/>
        <a:p>
          <a:endParaRPr lang="en-US" sz="1800"/>
        </a:p>
      </dgm:t>
    </dgm:pt>
    <dgm:pt modelId="{EB760897-55D4-483A-BFDC-C2B669E027C7}">
      <dgm:prSet phldrT="[Text]" custT="1"/>
      <dgm:spPr/>
      <dgm:t>
        <a:bodyPr/>
        <a:lstStyle/>
        <a:p>
          <a:r>
            <a:rPr lang="en-US" sz="1800" dirty="0" smtClean="0">
              <a:solidFill>
                <a:schemeClr val="tx1"/>
              </a:solidFill>
              <a:latin typeface="+mn-lt"/>
              <a:ea typeface="+mn-ea"/>
              <a:cs typeface="+mn-cs"/>
            </a:rPr>
            <a:t>High Performance</a:t>
          </a:r>
          <a:endParaRPr lang="en-US" sz="1800" dirty="0"/>
        </a:p>
      </dgm:t>
    </dgm:pt>
    <dgm:pt modelId="{FEB0C175-08B8-4FCB-8439-5ACFB6105FDA}" type="parTrans" cxnId="{80B8A45C-D4AA-4D6D-BA1F-5E3C58ACFCAD}">
      <dgm:prSet/>
      <dgm:spPr/>
      <dgm:t>
        <a:bodyPr/>
        <a:lstStyle/>
        <a:p>
          <a:endParaRPr lang="en-US" sz="1800"/>
        </a:p>
      </dgm:t>
    </dgm:pt>
    <dgm:pt modelId="{0C3176C8-1FFA-4D3E-83FA-EAC8304BD193}" type="sibTrans" cxnId="{80B8A45C-D4AA-4D6D-BA1F-5E3C58ACFCAD}">
      <dgm:prSet/>
      <dgm:spPr/>
      <dgm:t>
        <a:bodyPr/>
        <a:lstStyle/>
        <a:p>
          <a:endParaRPr lang="en-US" sz="1800"/>
        </a:p>
      </dgm:t>
    </dgm:pt>
    <dgm:pt modelId="{16FDE2BA-42F0-4091-8E2B-9CA0E30DF871}">
      <dgm:prSet phldrT="[Text]" custT="1"/>
      <dgm:spPr/>
      <dgm:t>
        <a:bodyPr/>
        <a:lstStyle/>
        <a:p>
          <a:r>
            <a:rPr lang="en-US" sz="1800" dirty="0" smtClean="0"/>
            <a:t>High Availability </a:t>
          </a:r>
          <a:endParaRPr lang="en-US" sz="1800" dirty="0"/>
        </a:p>
      </dgm:t>
    </dgm:pt>
    <dgm:pt modelId="{DEACAD11-A609-4868-AAE6-626F069B07EC}" type="parTrans" cxnId="{B2FDA8E7-350C-441A-A580-F13536FD61AA}">
      <dgm:prSet/>
      <dgm:spPr/>
      <dgm:t>
        <a:bodyPr/>
        <a:lstStyle/>
        <a:p>
          <a:endParaRPr lang="en-US" sz="1800"/>
        </a:p>
      </dgm:t>
    </dgm:pt>
    <dgm:pt modelId="{F0FF37A4-4113-463B-93D8-C27069CAE98E}" type="sibTrans" cxnId="{B2FDA8E7-350C-441A-A580-F13536FD61AA}">
      <dgm:prSet/>
      <dgm:spPr/>
      <dgm:t>
        <a:bodyPr/>
        <a:lstStyle/>
        <a:p>
          <a:endParaRPr lang="en-US" sz="1800"/>
        </a:p>
      </dgm:t>
    </dgm:pt>
    <dgm:pt modelId="{6E72F177-D287-4C74-8CE6-3A6D8C3BAF2E}">
      <dgm:prSet phldrT="[Text]" custT="1"/>
      <dgm:spPr/>
      <dgm:t>
        <a:bodyPr/>
        <a:lstStyle/>
        <a:p>
          <a:r>
            <a:rPr lang="en-US" sz="1800" dirty="0" smtClean="0">
              <a:solidFill>
                <a:schemeClr val="tx1"/>
              </a:solidFill>
              <a:latin typeface="+mn-lt"/>
              <a:ea typeface="+mn-ea"/>
              <a:cs typeface="+mn-cs"/>
            </a:rPr>
            <a:t>Sharding</a:t>
          </a:r>
          <a:endParaRPr lang="en-US" sz="1800" dirty="0"/>
        </a:p>
      </dgm:t>
    </dgm:pt>
    <dgm:pt modelId="{22DDC6E6-DA04-45B3-B81D-B416BE7283EC}" type="parTrans" cxnId="{EA67A13F-1A9A-47EE-84FF-FE1F9CDDFC4F}">
      <dgm:prSet/>
      <dgm:spPr/>
      <dgm:t>
        <a:bodyPr/>
        <a:lstStyle/>
        <a:p>
          <a:endParaRPr lang="en-US" sz="1800"/>
        </a:p>
      </dgm:t>
    </dgm:pt>
    <dgm:pt modelId="{31677AD2-D62E-48F4-8243-F75B2146BEC1}" type="sibTrans" cxnId="{EA67A13F-1A9A-47EE-84FF-FE1F9CDDFC4F}">
      <dgm:prSet/>
      <dgm:spPr/>
      <dgm:t>
        <a:bodyPr/>
        <a:lstStyle/>
        <a:p>
          <a:endParaRPr lang="en-US" sz="1800"/>
        </a:p>
      </dgm:t>
    </dgm:pt>
    <dgm:pt modelId="{426AE6EC-7EE8-47C1-A647-4085D0E16480}">
      <dgm:prSet phldrT="[Text]" custT="1"/>
      <dgm:spPr/>
      <dgm:t>
        <a:bodyPr/>
        <a:lstStyle/>
        <a:p>
          <a:r>
            <a:rPr lang="en-US" sz="1800" dirty="0" smtClean="0">
              <a:solidFill>
                <a:schemeClr val="tx1"/>
              </a:solidFill>
              <a:latin typeface="+mn-lt"/>
              <a:ea typeface="+mn-ea"/>
              <a:cs typeface="+mn-cs"/>
            </a:rPr>
            <a:t>Easy Scalability</a:t>
          </a:r>
          <a:endParaRPr lang="en-US" sz="1800" dirty="0"/>
        </a:p>
      </dgm:t>
    </dgm:pt>
    <dgm:pt modelId="{B5AFE5D5-3848-4467-ADFF-50DED1C0664E}" type="parTrans" cxnId="{C0F13392-3CCB-42E7-BD1C-1E033C3C49A3}">
      <dgm:prSet/>
      <dgm:spPr/>
      <dgm:t>
        <a:bodyPr/>
        <a:lstStyle/>
        <a:p>
          <a:endParaRPr lang="en-US" sz="1800"/>
        </a:p>
      </dgm:t>
    </dgm:pt>
    <dgm:pt modelId="{9FE13D21-D8B3-4833-B8BC-059615532571}" type="sibTrans" cxnId="{C0F13392-3CCB-42E7-BD1C-1E033C3C49A3}">
      <dgm:prSet/>
      <dgm:spPr/>
      <dgm:t>
        <a:bodyPr/>
        <a:lstStyle/>
        <a:p>
          <a:endParaRPr lang="en-US" sz="1800"/>
        </a:p>
      </dgm:t>
    </dgm:pt>
    <dgm:pt modelId="{E92E9372-D9C8-4D52-A969-8B68A7072BE4}">
      <dgm:prSet phldrT="[Text]" custT="1"/>
      <dgm:spPr/>
      <dgm:t>
        <a:bodyPr/>
        <a:lstStyle/>
        <a:p>
          <a:r>
            <a:rPr lang="en-US" sz="1800" dirty="0" smtClean="0"/>
            <a:t>File Storage </a:t>
          </a:r>
          <a:endParaRPr lang="en-US" sz="1800" dirty="0"/>
        </a:p>
      </dgm:t>
    </dgm:pt>
    <dgm:pt modelId="{47F58BCD-D275-4754-9FD6-5907695899DF}" type="parTrans" cxnId="{CE3D9D5D-8606-4770-A965-1BCE8DE44D7B}">
      <dgm:prSet/>
      <dgm:spPr/>
      <dgm:t>
        <a:bodyPr/>
        <a:lstStyle/>
        <a:p>
          <a:endParaRPr lang="en-US" sz="1800"/>
        </a:p>
      </dgm:t>
    </dgm:pt>
    <dgm:pt modelId="{C22F3B2A-E1DD-43D4-B975-99ADBEFF557A}" type="sibTrans" cxnId="{CE3D9D5D-8606-4770-A965-1BCE8DE44D7B}">
      <dgm:prSet/>
      <dgm:spPr/>
      <dgm:t>
        <a:bodyPr/>
        <a:lstStyle/>
        <a:p>
          <a:endParaRPr lang="en-US" sz="1800"/>
        </a:p>
      </dgm:t>
    </dgm:pt>
    <dgm:pt modelId="{5A1D9281-DF8F-4238-A1F4-5B64343F7028}">
      <dgm:prSet phldrT="[Text]" custT="1"/>
      <dgm:spPr/>
      <dgm:t>
        <a:bodyPr/>
        <a:lstStyle/>
        <a:p>
          <a:r>
            <a:rPr lang="en-US" sz="1800" dirty="0" smtClean="0"/>
            <a:t>Rich Query Language </a:t>
          </a:r>
          <a:endParaRPr lang="en-US" sz="1800" dirty="0"/>
        </a:p>
      </dgm:t>
    </dgm:pt>
    <dgm:pt modelId="{1CD6A46B-CDF4-48D8-B11D-2D2CC910AD16}" type="parTrans" cxnId="{24DE404B-D760-42A4-952C-AAE642BFDCED}">
      <dgm:prSet/>
      <dgm:spPr/>
      <dgm:t>
        <a:bodyPr/>
        <a:lstStyle/>
        <a:p>
          <a:endParaRPr lang="en-US" sz="1800"/>
        </a:p>
      </dgm:t>
    </dgm:pt>
    <dgm:pt modelId="{BC3B59F4-3A12-4EBD-95FD-38231AF96FBE}" type="sibTrans" cxnId="{24DE404B-D760-42A4-952C-AAE642BFDCED}">
      <dgm:prSet/>
      <dgm:spPr/>
      <dgm:t>
        <a:bodyPr/>
        <a:lstStyle/>
        <a:p>
          <a:endParaRPr lang="en-US" sz="1800"/>
        </a:p>
      </dgm:t>
    </dgm:pt>
    <dgm:pt modelId="{E5389D70-29F8-421D-9145-27B50AA5AA49}">
      <dgm:prSet phldrT="[Text]" custT="1"/>
      <dgm:spPr/>
      <dgm:t>
        <a:bodyPr/>
        <a:lstStyle/>
        <a:p>
          <a:r>
            <a:rPr lang="en-US" sz="1800" dirty="0" smtClean="0"/>
            <a:t>Load Balancing</a:t>
          </a:r>
          <a:endParaRPr lang="en-US" sz="1800" dirty="0"/>
        </a:p>
      </dgm:t>
    </dgm:pt>
    <dgm:pt modelId="{77D14776-3E10-4436-B4E8-BBD02779B167}" type="parTrans" cxnId="{383E2B9B-F9F0-4AF4-B139-38AAB4575601}">
      <dgm:prSet/>
      <dgm:spPr/>
      <dgm:t>
        <a:bodyPr/>
        <a:lstStyle/>
        <a:p>
          <a:endParaRPr lang="en-US" sz="1800"/>
        </a:p>
      </dgm:t>
    </dgm:pt>
    <dgm:pt modelId="{CE87F75E-696C-4B0D-B96C-E1D33E31411A}" type="sibTrans" cxnId="{383E2B9B-F9F0-4AF4-B139-38AAB4575601}">
      <dgm:prSet/>
      <dgm:spPr/>
      <dgm:t>
        <a:bodyPr/>
        <a:lstStyle/>
        <a:p>
          <a:endParaRPr lang="en-US" sz="1800"/>
        </a:p>
      </dgm:t>
    </dgm:pt>
    <dgm:pt modelId="{531ED72D-BB1F-499E-8BD4-D38CFD01487C}">
      <dgm:prSet phldrT="[Text]" custT="1"/>
      <dgm:spPr/>
      <dgm:t>
        <a:bodyPr/>
        <a:lstStyle/>
        <a:p>
          <a:r>
            <a:rPr lang="en-US" sz="1800" dirty="0" smtClean="0"/>
            <a:t>Replication </a:t>
          </a:r>
          <a:endParaRPr lang="en-US" sz="1800" dirty="0"/>
        </a:p>
      </dgm:t>
    </dgm:pt>
    <dgm:pt modelId="{266E85B8-B736-4FCB-A6D3-285F532E1496}" type="parTrans" cxnId="{31534C71-ECEC-4158-9CE3-DB9458377153}">
      <dgm:prSet/>
      <dgm:spPr/>
      <dgm:t>
        <a:bodyPr/>
        <a:lstStyle/>
        <a:p>
          <a:endParaRPr lang="en-US" sz="1800"/>
        </a:p>
      </dgm:t>
    </dgm:pt>
    <dgm:pt modelId="{06565649-0F7A-4D44-A520-87A6664404F6}" type="sibTrans" cxnId="{31534C71-ECEC-4158-9CE3-DB9458377153}">
      <dgm:prSet/>
      <dgm:spPr/>
      <dgm:t>
        <a:bodyPr/>
        <a:lstStyle/>
        <a:p>
          <a:endParaRPr lang="en-US" sz="1800"/>
        </a:p>
      </dgm:t>
    </dgm:pt>
    <dgm:pt modelId="{C923E41F-F316-442C-B852-095B53EB2A54}" type="pres">
      <dgm:prSet presAssocID="{CBA67160-E6CC-41E5-A6BA-F235373C13A7}" presName="linear" presStyleCnt="0">
        <dgm:presLayoutVars>
          <dgm:animLvl val="lvl"/>
          <dgm:resizeHandles val="exact"/>
        </dgm:presLayoutVars>
      </dgm:prSet>
      <dgm:spPr/>
      <dgm:t>
        <a:bodyPr/>
        <a:lstStyle/>
        <a:p>
          <a:endParaRPr lang="en-US"/>
        </a:p>
      </dgm:t>
    </dgm:pt>
    <dgm:pt modelId="{780D59E3-1D59-4ED6-8DE3-59EE375EBA13}" type="pres">
      <dgm:prSet presAssocID="{2C98C9C9-2A01-4EC9-BB76-A3B53D283199}" presName="parentText" presStyleLbl="node1" presStyleIdx="0" presStyleCnt="11">
        <dgm:presLayoutVars>
          <dgm:chMax val="0"/>
          <dgm:bulletEnabled val="1"/>
        </dgm:presLayoutVars>
      </dgm:prSet>
      <dgm:spPr/>
      <dgm:t>
        <a:bodyPr/>
        <a:lstStyle/>
        <a:p>
          <a:endParaRPr lang="en-US"/>
        </a:p>
      </dgm:t>
    </dgm:pt>
    <dgm:pt modelId="{2911C9A3-B283-4BE5-AB37-9C7AF47657EA}" type="pres">
      <dgm:prSet presAssocID="{BC6C2841-B710-4F98-8ED8-4DF02CFE5E29}" presName="spacer" presStyleCnt="0"/>
      <dgm:spPr/>
    </dgm:pt>
    <dgm:pt modelId="{B80A6210-F8A1-4BE9-9CAE-A4A931FF1032}" type="pres">
      <dgm:prSet presAssocID="{B1AC512D-2DB9-4596-8B42-B294D084B401}" presName="parentText" presStyleLbl="node1" presStyleIdx="1" presStyleCnt="11">
        <dgm:presLayoutVars>
          <dgm:chMax val="0"/>
          <dgm:bulletEnabled val="1"/>
        </dgm:presLayoutVars>
      </dgm:prSet>
      <dgm:spPr/>
      <dgm:t>
        <a:bodyPr/>
        <a:lstStyle/>
        <a:p>
          <a:endParaRPr lang="en-US"/>
        </a:p>
      </dgm:t>
    </dgm:pt>
    <dgm:pt modelId="{31F9E3CC-9A9D-4E02-8F57-D05419046CEF}" type="pres">
      <dgm:prSet presAssocID="{21E4F812-71B2-45A9-B05D-26E6D5F790DD}" presName="spacer" presStyleCnt="0"/>
      <dgm:spPr/>
    </dgm:pt>
    <dgm:pt modelId="{DD5DE0D1-7E76-4D12-905C-51B8DF56C8EC}" type="pres">
      <dgm:prSet presAssocID="{5077EF2E-C32F-4209-BF87-DC12123C7F45}" presName="parentText" presStyleLbl="node1" presStyleIdx="2" presStyleCnt="11">
        <dgm:presLayoutVars>
          <dgm:chMax val="0"/>
          <dgm:bulletEnabled val="1"/>
        </dgm:presLayoutVars>
      </dgm:prSet>
      <dgm:spPr/>
      <dgm:t>
        <a:bodyPr/>
        <a:lstStyle/>
        <a:p>
          <a:endParaRPr lang="en-US"/>
        </a:p>
      </dgm:t>
    </dgm:pt>
    <dgm:pt modelId="{163155EE-4469-4063-9007-7478C02761A0}" type="pres">
      <dgm:prSet presAssocID="{7B8D12FB-D5E4-4549-9511-A46F10E49738}" presName="spacer" presStyleCnt="0"/>
      <dgm:spPr/>
    </dgm:pt>
    <dgm:pt modelId="{BE9310B8-C1D5-4FB7-AF32-ED8A47BF7EF1}" type="pres">
      <dgm:prSet presAssocID="{EB760897-55D4-483A-BFDC-C2B669E027C7}" presName="parentText" presStyleLbl="node1" presStyleIdx="3" presStyleCnt="11">
        <dgm:presLayoutVars>
          <dgm:chMax val="0"/>
          <dgm:bulletEnabled val="1"/>
        </dgm:presLayoutVars>
      </dgm:prSet>
      <dgm:spPr/>
      <dgm:t>
        <a:bodyPr/>
        <a:lstStyle/>
        <a:p>
          <a:endParaRPr lang="en-US"/>
        </a:p>
      </dgm:t>
    </dgm:pt>
    <dgm:pt modelId="{738B20C4-CBFF-4AAE-9640-98887A2A6CAE}" type="pres">
      <dgm:prSet presAssocID="{0C3176C8-1FFA-4D3E-83FA-EAC8304BD193}" presName="spacer" presStyleCnt="0"/>
      <dgm:spPr/>
    </dgm:pt>
    <dgm:pt modelId="{5117DBFA-EB80-444E-A33B-8C5886F01717}" type="pres">
      <dgm:prSet presAssocID="{16FDE2BA-42F0-4091-8E2B-9CA0E30DF871}" presName="parentText" presStyleLbl="node1" presStyleIdx="4" presStyleCnt="11">
        <dgm:presLayoutVars>
          <dgm:chMax val="0"/>
          <dgm:bulletEnabled val="1"/>
        </dgm:presLayoutVars>
      </dgm:prSet>
      <dgm:spPr/>
      <dgm:t>
        <a:bodyPr/>
        <a:lstStyle/>
        <a:p>
          <a:endParaRPr lang="en-US"/>
        </a:p>
      </dgm:t>
    </dgm:pt>
    <dgm:pt modelId="{DC8776AD-1E76-40D9-9E97-1EBB713D621E}" type="pres">
      <dgm:prSet presAssocID="{F0FF37A4-4113-463B-93D8-C27069CAE98E}" presName="spacer" presStyleCnt="0"/>
      <dgm:spPr/>
    </dgm:pt>
    <dgm:pt modelId="{8AE65C7E-E2B8-4DE6-9645-7361F4E52780}" type="pres">
      <dgm:prSet presAssocID="{6E72F177-D287-4C74-8CE6-3A6D8C3BAF2E}" presName="parentText" presStyleLbl="node1" presStyleIdx="5" presStyleCnt="11">
        <dgm:presLayoutVars>
          <dgm:chMax val="0"/>
          <dgm:bulletEnabled val="1"/>
        </dgm:presLayoutVars>
      </dgm:prSet>
      <dgm:spPr/>
      <dgm:t>
        <a:bodyPr/>
        <a:lstStyle/>
        <a:p>
          <a:endParaRPr lang="en-US"/>
        </a:p>
      </dgm:t>
    </dgm:pt>
    <dgm:pt modelId="{CF8B8FCA-8ECF-41E5-B445-518A0485F2A1}" type="pres">
      <dgm:prSet presAssocID="{31677AD2-D62E-48F4-8243-F75B2146BEC1}" presName="spacer" presStyleCnt="0"/>
      <dgm:spPr/>
    </dgm:pt>
    <dgm:pt modelId="{AC4C11C0-471B-49B0-BEA6-86D6F23BCC79}" type="pres">
      <dgm:prSet presAssocID="{426AE6EC-7EE8-47C1-A647-4085D0E16480}" presName="parentText" presStyleLbl="node1" presStyleIdx="6" presStyleCnt="11">
        <dgm:presLayoutVars>
          <dgm:chMax val="0"/>
          <dgm:bulletEnabled val="1"/>
        </dgm:presLayoutVars>
      </dgm:prSet>
      <dgm:spPr/>
      <dgm:t>
        <a:bodyPr/>
        <a:lstStyle/>
        <a:p>
          <a:endParaRPr lang="en-US"/>
        </a:p>
      </dgm:t>
    </dgm:pt>
    <dgm:pt modelId="{E6EE4B15-CE17-4BBE-8859-DD6A235A2B49}" type="pres">
      <dgm:prSet presAssocID="{9FE13D21-D8B3-4833-B8BC-059615532571}" presName="spacer" presStyleCnt="0"/>
      <dgm:spPr/>
    </dgm:pt>
    <dgm:pt modelId="{AF9D4756-8BCB-4DD0-B27A-2293631F5DA5}" type="pres">
      <dgm:prSet presAssocID="{E92E9372-D9C8-4D52-A969-8B68A7072BE4}" presName="parentText" presStyleLbl="node1" presStyleIdx="7" presStyleCnt="11">
        <dgm:presLayoutVars>
          <dgm:chMax val="0"/>
          <dgm:bulletEnabled val="1"/>
        </dgm:presLayoutVars>
      </dgm:prSet>
      <dgm:spPr/>
      <dgm:t>
        <a:bodyPr/>
        <a:lstStyle/>
        <a:p>
          <a:endParaRPr lang="en-US"/>
        </a:p>
      </dgm:t>
    </dgm:pt>
    <dgm:pt modelId="{7961B8ED-EEC9-4EB9-963E-8988EFC9DEAA}" type="pres">
      <dgm:prSet presAssocID="{C22F3B2A-E1DD-43D4-B975-99ADBEFF557A}" presName="spacer" presStyleCnt="0"/>
      <dgm:spPr/>
    </dgm:pt>
    <dgm:pt modelId="{8B462331-68C8-41EA-9F05-0D662A890829}" type="pres">
      <dgm:prSet presAssocID="{5A1D9281-DF8F-4238-A1F4-5B64343F7028}" presName="parentText" presStyleLbl="node1" presStyleIdx="8" presStyleCnt="11">
        <dgm:presLayoutVars>
          <dgm:chMax val="0"/>
          <dgm:bulletEnabled val="1"/>
        </dgm:presLayoutVars>
      </dgm:prSet>
      <dgm:spPr/>
      <dgm:t>
        <a:bodyPr/>
        <a:lstStyle/>
        <a:p>
          <a:endParaRPr lang="en-US"/>
        </a:p>
      </dgm:t>
    </dgm:pt>
    <dgm:pt modelId="{61F70C9C-B548-44F7-BF91-2A76D13E446D}" type="pres">
      <dgm:prSet presAssocID="{BC3B59F4-3A12-4EBD-95FD-38231AF96FBE}" presName="spacer" presStyleCnt="0"/>
      <dgm:spPr/>
    </dgm:pt>
    <dgm:pt modelId="{6CD785DF-12BA-4A11-AFBB-38184A09A405}" type="pres">
      <dgm:prSet presAssocID="{E5389D70-29F8-421D-9145-27B50AA5AA49}" presName="parentText" presStyleLbl="node1" presStyleIdx="9" presStyleCnt="11">
        <dgm:presLayoutVars>
          <dgm:chMax val="0"/>
          <dgm:bulletEnabled val="1"/>
        </dgm:presLayoutVars>
      </dgm:prSet>
      <dgm:spPr/>
      <dgm:t>
        <a:bodyPr/>
        <a:lstStyle/>
        <a:p>
          <a:endParaRPr lang="en-US"/>
        </a:p>
      </dgm:t>
    </dgm:pt>
    <dgm:pt modelId="{D8F1A5CD-0249-435E-9E3E-B18A036EA96D}" type="pres">
      <dgm:prSet presAssocID="{CE87F75E-696C-4B0D-B96C-E1D33E31411A}" presName="spacer" presStyleCnt="0"/>
      <dgm:spPr/>
    </dgm:pt>
    <dgm:pt modelId="{695DAB92-17A2-4D31-8819-C00C23A51046}" type="pres">
      <dgm:prSet presAssocID="{531ED72D-BB1F-499E-8BD4-D38CFD01487C}" presName="parentText" presStyleLbl="node1" presStyleIdx="10" presStyleCnt="11">
        <dgm:presLayoutVars>
          <dgm:chMax val="0"/>
          <dgm:bulletEnabled val="1"/>
        </dgm:presLayoutVars>
      </dgm:prSet>
      <dgm:spPr/>
      <dgm:t>
        <a:bodyPr/>
        <a:lstStyle/>
        <a:p>
          <a:endParaRPr lang="en-US"/>
        </a:p>
      </dgm:t>
    </dgm:pt>
  </dgm:ptLst>
  <dgm:cxnLst>
    <dgm:cxn modelId="{EA67A13F-1A9A-47EE-84FF-FE1F9CDDFC4F}" srcId="{CBA67160-E6CC-41E5-A6BA-F235373C13A7}" destId="{6E72F177-D287-4C74-8CE6-3A6D8C3BAF2E}" srcOrd="5" destOrd="0" parTransId="{22DDC6E6-DA04-45B3-B81D-B416BE7283EC}" sibTransId="{31677AD2-D62E-48F4-8243-F75B2146BEC1}"/>
    <dgm:cxn modelId="{9E346664-ADFE-4F57-A2CE-8B6E7B8845D6}" type="presOf" srcId="{531ED72D-BB1F-499E-8BD4-D38CFD01487C}" destId="{695DAB92-17A2-4D31-8819-C00C23A51046}" srcOrd="0" destOrd="0" presId="urn:microsoft.com/office/officeart/2005/8/layout/vList2"/>
    <dgm:cxn modelId="{24B5781A-B931-42E2-B979-62FF75E83821}" type="presOf" srcId="{E5389D70-29F8-421D-9145-27B50AA5AA49}" destId="{6CD785DF-12BA-4A11-AFBB-38184A09A405}" srcOrd="0" destOrd="0" presId="urn:microsoft.com/office/officeart/2005/8/layout/vList2"/>
    <dgm:cxn modelId="{312643D1-1C03-48A5-B2AE-15E4355B149E}" type="presOf" srcId="{5A1D9281-DF8F-4238-A1F4-5B64343F7028}" destId="{8B462331-68C8-41EA-9F05-0D662A890829}" srcOrd="0" destOrd="0" presId="urn:microsoft.com/office/officeart/2005/8/layout/vList2"/>
    <dgm:cxn modelId="{CE3D9D5D-8606-4770-A965-1BCE8DE44D7B}" srcId="{CBA67160-E6CC-41E5-A6BA-F235373C13A7}" destId="{E92E9372-D9C8-4D52-A969-8B68A7072BE4}" srcOrd="7" destOrd="0" parTransId="{47F58BCD-D275-4754-9FD6-5907695899DF}" sibTransId="{C22F3B2A-E1DD-43D4-B975-99ADBEFF557A}"/>
    <dgm:cxn modelId="{C5134CC8-FFD4-4832-94F1-4E340808F505}" type="presOf" srcId="{2C98C9C9-2A01-4EC9-BB76-A3B53D283199}" destId="{780D59E3-1D59-4ED6-8DE3-59EE375EBA13}" srcOrd="0" destOrd="0" presId="urn:microsoft.com/office/officeart/2005/8/layout/vList2"/>
    <dgm:cxn modelId="{9A44AFCA-BA31-4072-B622-C8397AC6BF04}" type="presOf" srcId="{B1AC512D-2DB9-4596-8B42-B294D084B401}" destId="{B80A6210-F8A1-4BE9-9CAE-A4A931FF1032}" srcOrd="0" destOrd="0" presId="urn:microsoft.com/office/officeart/2005/8/layout/vList2"/>
    <dgm:cxn modelId="{80346AB3-F443-43A7-9FE7-DAAD97190AB6}" type="presOf" srcId="{426AE6EC-7EE8-47C1-A647-4085D0E16480}" destId="{AC4C11C0-471B-49B0-BEA6-86D6F23BCC79}" srcOrd="0" destOrd="0" presId="urn:microsoft.com/office/officeart/2005/8/layout/vList2"/>
    <dgm:cxn modelId="{45988155-FEEB-42E2-882E-DF8E7F7ABBBC}" type="presOf" srcId="{E92E9372-D9C8-4D52-A969-8B68A7072BE4}" destId="{AF9D4756-8BCB-4DD0-B27A-2293631F5DA5}" srcOrd="0" destOrd="0" presId="urn:microsoft.com/office/officeart/2005/8/layout/vList2"/>
    <dgm:cxn modelId="{8228AA72-A58B-4C38-8C1A-915006476495}" srcId="{CBA67160-E6CC-41E5-A6BA-F235373C13A7}" destId="{5077EF2E-C32F-4209-BF87-DC12123C7F45}" srcOrd="2" destOrd="0" parTransId="{7F055220-3CF1-460E-BF54-5628F6CD9C94}" sibTransId="{7B8D12FB-D5E4-4549-9511-A46F10E49738}"/>
    <dgm:cxn modelId="{35C2E64F-E81D-48F0-9C02-780B0867DB39}" type="presOf" srcId="{CBA67160-E6CC-41E5-A6BA-F235373C13A7}" destId="{C923E41F-F316-442C-B852-095B53EB2A54}" srcOrd="0" destOrd="0" presId="urn:microsoft.com/office/officeart/2005/8/layout/vList2"/>
    <dgm:cxn modelId="{D5BB5F82-1A1A-4B51-8395-0E8AE826EAC1}" type="presOf" srcId="{16FDE2BA-42F0-4091-8E2B-9CA0E30DF871}" destId="{5117DBFA-EB80-444E-A33B-8C5886F01717}" srcOrd="0" destOrd="0" presId="urn:microsoft.com/office/officeart/2005/8/layout/vList2"/>
    <dgm:cxn modelId="{C9ADE187-FA66-4FFA-828A-8D0CB8D1F4FF}" type="presOf" srcId="{5077EF2E-C32F-4209-BF87-DC12123C7F45}" destId="{DD5DE0D1-7E76-4D12-905C-51B8DF56C8EC}" srcOrd="0" destOrd="0" presId="urn:microsoft.com/office/officeart/2005/8/layout/vList2"/>
    <dgm:cxn modelId="{D7905329-67AA-400D-956F-D4DB08E9ADE5}" type="presOf" srcId="{EB760897-55D4-483A-BFDC-C2B669E027C7}" destId="{BE9310B8-C1D5-4FB7-AF32-ED8A47BF7EF1}" srcOrd="0" destOrd="0" presId="urn:microsoft.com/office/officeart/2005/8/layout/vList2"/>
    <dgm:cxn modelId="{78CB124D-1E99-4966-8F50-C6995E21EB42}" srcId="{CBA67160-E6CC-41E5-A6BA-F235373C13A7}" destId="{2C98C9C9-2A01-4EC9-BB76-A3B53D283199}" srcOrd="0" destOrd="0" parTransId="{74AA7EFA-CCEA-4C63-A90D-56485A093DF0}" sibTransId="{BC6C2841-B710-4F98-8ED8-4DF02CFE5E29}"/>
    <dgm:cxn modelId="{3532E745-536D-4AE4-B37A-84D2C749E57E}" type="presOf" srcId="{6E72F177-D287-4C74-8CE6-3A6D8C3BAF2E}" destId="{8AE65C7E-E2B8-4DE6-9645-7361F4E52780}" srcOrd="0" destOrd="0" presId="urn:microsoft.com/office/officeart/2005/8/layout/vList2"/>
    <dgm:cxn modelId="{31534C71-ECEC-4158-9CE3-DB9458377153}" srcId="{CBA67160-E6CC-41E5-A6BA-F235373C13A7}" destId="{531ED72D-BB1F-499E-8BD4-D38CFD01487C}" srcOrd="10" destOrd="0" parTransId="{266E85B8-B736-4FCB-A6D3-285F532E1496}" sibTransId="{06565649-0F7A-4D44-A520-87A6664404F6}"/>
    <dgm:cxn modelId="{0E71768D-E692-43F5-A668-0A50F431964D}" srcId="{CBA67160-E6CC-41E5-A6BA-F235373C13A7}" destId="{B1AC512D-2DB9-4596-8B42-B294D084B401}" srcOrd="1" destOrd="0" parTransId="{3AF151D9-0976-4F7B-9D4F-09A7D1C90F51}" sibTransId="{21E4F812-71B2-45A9-B05D-26E6D5F790DD}"/>
    <dgm:cxn modelId="{C0F13392-3CCB-42E7-BD1C-1E033C3C49A3}" srcId="{CBA67160-E6CC-41E5-A6BA-F235373C13A7}" destId="{426AE6EC-7EE8-47C1-A647-4085D0E16480}" srcOrd="6" destOrd="0" parTransId="{B5AFE5D5-3848-4467-ADFF-50DED1C0664E}" sibTransId="{9FE13D21-D8B3-4833-B8BC-059615532571}"/>
    <dgm:cxn modelId="{24DE404B-D760-42A4-952C-AAE642BFDCED}" srcId="{CBA67160-E6CC-41E5-A6BA-F235373C13A7}" destId="{5A1D9281-DF8F-4238-A1F4-5B64343F7028}" srcOrd="8" destOrd="0" parTransId="{1CD6A46B-CDF4-48D8-B11D-2D2CC910AD16}" sibTransId="{BC3B59F4-3A12-4EBD-95FD-38231AF96FBE}"/>
    <dgm:cxn modelId="{80B8A45C-D4AA-4D6D-BA1F-5E3C58ACFCAD}" srcId="{CBA67160-E6CC-41E5-A6BA-F235373C13A7}" destId="{EB760897-55D4-483A-BFDC-C2B669E027C7}" srcOrd="3" destOrd="0" parTransId="{FEB0C175-08B8-4FCB-8439-5ACFB6105FDA}" sibTransId="{0C3176C8-1FFA-4D3E-83FA-EAC8304BD193}"/>
    <dgm:cxn modelId="{383E2B9B-F9F0-4AF4-B139-38AAB4575601}" srcId="{CBA67160-E6CC-41E5-A6BA-F235373C13A7}" destId="{E5389D70-29F8-421D-9145-27B50AA5AA49}" srcOrd="9" destOrd="0" parTransId="{77D14776-3E10-4436-B4E8-BBD02779B167}" sibTransId="{CE87F75E-696C-4B0D-B96C-E1D33E31411A}"/>
    <dgm:cxn modelId="{B2FDA8E7-350C-441A-A580-F13536FD61AA}" srcId="{CBA67160-E6CC-41E5-A6BA-F235373C13A7}" destId="{16FDE2BA-42F0-4091-8E2B-9CA0E30DF871}" srcOrd="4" destOrd="0" parTransId="{DEACAD11-A609-4868-AAE6-626F069B07EC}" sibTransId="{F0FF37A4-4113-463B-93D8-C27069CAE98E}"/>
    <dgm:cxn modelId="{7D98A05F-847A-4E13-AF82-240C4E711A75}" type="presParOf" srcId="{C923E41F-F316-442C-B852-095B53EB2A54}" destId="{780D59E3-1D59-4ED6-8DE3-59EE375EBA13}" srcOrd="0" destOrd="0" presId="urn:microsoft.com/office/officeart/2005/8/layout/vList2"/>
    <dgm:cxn modelId="{DD32C543-9322-4EED-A146-2A9CDD62432A}" type="presParOf" srcId="{C923E41F-F316-442C-B852-095B53EB2A54}" destId="{2911C9A3-B283-4BE5-AB37-9C7AF47657EA}" srcOrd="1" destOrd="0" presId="urn:microsoft.com/office/officeart/2005/8/layout/vList2"/>
    <dgm:cxn modelId="{D935393B-C606-48C6-89CC-4D23F3AE4164}" type="presParOf" srcId="{C923E41F-F316-442C-B852-095B53EB2A54}" destId="{B80A6210-F8A1-4BE9-9CAE-A4A931FF1032}" srcOrd="2" destOrd="0" presId="urn:microsoft.com/office/officeart/2005/8/layout/vList2"/>
    <dgm:cxn modelId="{969E102E-F750-48B1-A580-034A9ACF2BBC}" type="presParOf" srcId="{C923E41F-F316-442C-B852-095B53EB2A54}" destId="{31F9E3CC-9A9D-4E02-8F57-D05419046CEF}" srcOrd="3" destOrd="0" presId="urn:microsoft.com/office/officeart/2005/8/layout/vList2"/>
    <dgm:cxn modelId="{CA6C916F-1578-4508-8C2D-C0EA3D8F9A13}" type="presParOf" srcId="{C923E41F-F316-442C-B852-095B53EB2A54}" destId="{DD5DE0D1-7E76-4D12-905C-51B8DF56C8EC}" srcOrd="4" destOrd="0" presId="urn:microsoft.com/office/officeart/2005/8/layout/vList2"/>
    <dgm:cxn modelId="{66FCF0BA-5483-4A29-96FD-B7F33FCF5A9F}" type="presParOf" srcId="{C923E41F-F316-442C-B852-095B53EB2A54}" destId="{163155EE-4469-4063-9007-7478C02761A0}" srcOrd="5" destOrd="0" presId="urn:microsoft.com/office/officeart/2005/8/layout/vList2"/>
    <dgm:cxn modelId="{FCCF3AE1-D16A-45EE-967A-BF7DA8A842F5}" type="presParOf" srcId="{C923E41F-F316-442C-B852-095B53EB2A54}" destId="{BE9310B8-C1D5-4FB7-AF32-ED8A47BF7EF1}" srcOrd="6" destOrd="0" presId="urn:microsoft.com/office/officeart/2005/8/layout/vList2"/>
    <dgm:cxn modelId="{5F015695-41AE-4B51-A5B5-02BBB0F01D60}" type="presParOf" srcId="{C923E41F-F316-442C-B852-095B53EB2A54}" destId="{738B20C4-CBFF-4AAE-9640-98887A2A6CAE}" srcOrd="7" destOrd="0" presId="urn:microsoft.com/office/officeart/2005/8/layout/vList2"/>
    <dgm:cxn modelId="{25FD772E-4304-442A-B87B-F837CF78CBFB}" type="presParOf" srcId="{C923E41F-F316-442C-B852-095B53EB2A54}" destId="{5117DBFA-EB80-444E-A33B-8C5886F01717}" srcOrd="8" destOrd="0" presId="urn:microsoft.com/office/officeart/2005/8/layout/vList2"/>
    <dgm:cxn modelId="{3EBAD2D9-A8D5-4260-BB3A-7DC9E3AE6128}" type="presParOf" srcId="{C923E41F-F316-442C-B852-095B53EB2A54}" destId="{DC8776AD-1E76-40D9-9E97-1EBB713D621E}" srcOrd="9" destOrd="0" presId="urn:microsoft.com/office/officeart/2005/8/layout/vList2"/>
    <dgm:cxn modelId="{8ADFD347-48CC-4A61-9BF9-59EEA91E2042}" type="presParOf" srcId="{C923E41F-F316-442C-B852-095B53EB2A54}" destId="{8AE65C7E-E2B8-4DE6-9645-7361F4E52780}" srcOrd="10" destOrd="0" presId="urn:microsoft.com/office/officeart/2005/8/layout/vList2"/>
    <dgm:cxn modelId="{85D71DEE-4C44-4B92-B42D-51534C0EBDF6}" type="presParOf" srcId="{C923E41F-F316-442C-B852-095B53EB2A54}" destId="{CF8B8FCA-8ECF-41E5-B445-518A0485F2A1}" srcOrd="11" destOrd="0" presId="urn:microsoft.com/office/officeart/2005/8/layout/vList2"/>
    <dgm:cxn modelId="{495A11F3-D8CD-476F-ABCD-679CE44E2050}" type="presParOf" srcId="{C923E41F-F316-442C-B852-095B53EB2A54}" destId="{AC4C11C0-471B-49B0-BEA6-86D6F23BCC79}" srcOrd="12" destOrd="0" presId="urn:microsoft.com/office/officeart/2005/8/layout/vList2"/>
    <dgm:cxn modelId="{56D5DF9B-3F7C-45C2-896E-E45BA6B0D2FB}" type="presParOf" srcId="{C923E41F-F316-442C-B852-095B53EB2A54}" destId="{E6EE4B15-CE17-4BBE-8859-DD6A235A2B49}" srcOrd="13" destOrd="0" presId="urn:microsoft.com/office/officeart/2005/8/layout/vList2"/>
    <dgm:cxn modelId="{47A6F72D-022C-4D87-AF44-A06FE5D22A53}" type="presParOf" srcId="{C923E41F-F316-442C-B852-095B53EB2A54}" destId="{AF9D4756-8BCB-4DD0-B27A-2293631F5DA5}" srcOrd="14" destOrd="0" presId="urn:microsoft.com/office/officeart/2005/8/layout/vList2"/>
    <dgm:cxn modelId="{FA633EBA-BD5D-4660-8409-673774E32C74}" type="presParOf" srcId="{C923E41F-F316-442C-B852-095B53EB2A54}" destId="{7961B8ED-EEC9-4EB9-963E-8988EFC9DEAA}" srcOrd="15" destOrd="0" presId="urn:microsoft.com/office/officeart/2005/8/layout/vList2"/>
    <dgm:cxn modelId="{73400B8A-5BED-4126-94B6-CDB0B42A4425}" type="presParOf" srcId="{C923E41F-F316-442C-B852-095B53EB2A54}" destId="{8B462331-68C8-41EA-9F05-0D662A890829}" srcOrd="16" destOrd="0" presId="urn:microsoft.com/office/officeart/2005/8/layout/vList2"/>
    <dgm:cxn modelId="{5FF50F44-4704-4A22-9C2D-0BE524282EBE}" type="presParOf" srcId="{C923E41F-F316-442C-B852-095B53EB2A54}" destId="{61F70C9C-B548-44F7-BF91-2A76D13E446D}" srcOrd="17" destOrd="0" presId="urn:microsoft.com/office/officeart/2005/8/layout/vList2"/>
    <dgm:cxn modelId="{FE192ED1-62B8-426E-9FF6-DCFC277CDBFF}" type="presParOf" srcId="{C923E41F-F316-442C-B852-095B53EB2A54}" destId="{6CD785DF-12BA-4A11-AFBB-38184A09A405}" srcOrd="18" destOrd="0" presId="urn:microsoft.com/office/officeart/2005/8/layout/vList2"/>
    <dgm:cxn modelId="{3376A14F-BF1E-4F6B-B4EE-31AEE477790F}" type="presParOf" srcId="{C923E41F-F316-442C-B852-095B53EB2A54}" destId="{D8F1A5CD-0249-435E-9E3E-B18A036EA96D}" srcOrd="19" destOrd="0" presId="urn:microsoft.com/office/officeart/2005/8/layout/vList2"/>
    <dgm:cxn modelId="{F7024EAA-AB9D-4593-B879-08557905F34D}" type="presParOf" srcId="{C923E41F-F316-442C-B852-095B53EB2A54}" destId="{695DAB92-17A2-4D31-8819-C00C23A51046}" srcOrd="2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7EFF884-988F-46C9-8417-63009A23A175}" type="doc">
      <dgm:prSet loTypeId="urn:microsoft.com/office/officeart/2005/8/layout/default#3" loCatId="list" qsTypeId="urn:microsoft.com/office/officeart/2005/8/quickstyle/simple1" qsCatId="simple" csTypeId="urn:microsoft.com/office/officeart/2005/8/colors/accent5_1" csCatId="accent5" phldr="1"/>
      <dgm:spPr/>
      <dgm:t>
        <a:bodyPr/>
        <a:lstStyle/>
        <a:p>
          <a:endParaRPr lang="en-US"/>
        </a:p>
      </dgm:t>
    </dgm:pt>
    <dgm:pt modelId="{4E063126-9A30-4A3D-B449-5FCFC36FDBE4}">
      <dgm:prSet phldrT="[Text]"/>
      <dgm:spPr/>
      <dgm:t>
        <a:bodyPr/>
        <a:lstStyle/>
        <a:p>
          <a:r>
            <a:rPr lang="en-US" b="1" dirty="0" smtClean="0"/>
            <a:t>Big Data</a:t>
          </a:r>
          <a:endParaRPr lang="en-US" b="1" dirty="0"/>
        </a:p>
      </dgm:t>
    </dgm:pt>
    <dgm:pt modelId="{C49A88C9-F15F-45D7-800D-662359EC75F5}" type="parTrans" cxnId="{D434781B-6B5A-482A-A092-D247D39A6F30}">
      <dgm:prSet/>
      <dgm:spPr/>
      <dgm:t>
        <a:bodyPr/>
        <a:lstStyle/>
        <a:p>
          <a:endParaRPr lang="en-US" b="1"/>
        </a:p>
      </dgm:t>
    </dgm:pt>
    <dgm:pt modelId="{DA0FADF3-F814-48C7-A234-80F7616557A8}" type="sibTrans" cxnId="{D434781B-6B5A-482A-A092-D247D39A6F30}">
      <dgm:prSet/>
      <dgm:spPr/>
      <dgm:t>
        <a:bodyPr/>
        <a:lstStyle/>
        <a:p>
          <a:endParaRPr lang="en-US" b="1"/>
        </a:p>
      </dgm:t>
    </dgm:pt>
    <dgm:pt modelId="{4DDA8FC4-9D91-4F20-9394-A58BA54A5D44}">
      <dgm:prSet phldrT="[Text]"/>
      <dgm:spPr/>
      <dgm:t>
        <a:bodyPr/>
        <a:lstStyle/>
        <a:p>
          <a:r>
            <a:rPr lang="en-US" b="1" dirty="0" smtClean="0"/>
            <a:t>Content Management and Delivery</a:t>
          </a:r>
          <a:endParaRPr lang="en-US" b="1" dirty="0"/>
        </a:p>
      </dgm:t>
    </dgm:pt>
    <dgm:pt modelId="{B4BD9DA8-0F00-4529-A739-A2C345DCAC7B}" type="parTrans" cxnId="{86F0D915-31D0-458C-A93D-9F613346031E}">
      <dgm:prSet/>
      <dgm:spPr/>
      <dgm:t>
        <a:bodyPr/>
        <a:lstStyle/>
        <a:p>
          <a:endParaRPr lang="en-US" b="1"/>
        </a:p>
      </dgm:t>
    </dgm:pt>
    <dgm:pt modelId="{31B3ABF3-FF44-4C46-A5C5-B1C26E53D30F}" type="sibTrans" cxnId="{86F0D915-31D0-458C-A93D-9F613346031E}">
      <dgm:prSet/>
      <dgm:spPr/>
      <dgm:t>
        <a:bodyPr/>
        <a:lstStyle/>
        <a:p>
          <a:endParaRPr lang="en-US" b="1"/>
        </a:p>
      </dgm:t>
    </dgm:pt>
    <dgm:pt modelId="{75C58ACE-248B-4298-AAC5-DA16C757D204}">
      <dgm:prSet phldrT="[Text]"/>
      <dgm:spPr/>
      <dgm:t>
        <a:bodyPr/>
        <a:lstStyle/>
        <a:p>
          <a:r>
            <a:rPr lang="en-US" b="1" dirty="0" smtClean="0"/>
            <a:t>Mobile  and  Social  Infrastructure</a:t>
          </a:r>
          <a:endParaRPr lang="en-US" b="1" dirty="0"/>
        </a:p>
      </dgm:t>
    </dgm:pt>
    <dgm:pt modelId="{B36DC5BE-B769-4A9F-A219-391E22C7B313}" type="parTrans" cxnId="{F747E727-0B80-4D92-AE38-7A3F1E870C1F}">
      <dgm:prSet/>
      <dgm:spPr/>
      <dgm:t>
        <a:bodyPr/>
        <a:lstStyle/>
        <a:p>
          <a:endParaRPr lang="en-US" b="1"/>
        </a:p>
      </dgm:t>
    </dgm:pt>
    <dgm:pt modelId="{4B43C8EC-1D44-496B-8574-60D2012C377A}" type="sibTrans" cxnId="{F747E727-0B80-4D92-AE38-7A3F1E870C1F}">
      <dgm:prSet/>
      <dgm:spPr/>
      <dgm:t>
        <a:bodyPr/>
        <a:lstStyle/>
        <a:p>
          <a:endParaRPr lang="en-US" b="1"/>
        </a:p>
      </dgm:t>
    </dgm:pt>
    <dgm:pt modelId="{CBC7F691-0456-4394-9567-82687F0DEFEC}">
      <dgm:prSet phldrT="[Text]"/>
      <dgm:spPr/>
      <dgm:t>
        <a:bodyPr/>
        <a:lstStyle/>
        <a:p>
          <a:r>
            <a:rPr lang="en-US" b="1" dirty="0" smtClean="0"/>
            <a:t>User Data Management </a:t>
          </a:r>
          <a:endParaRPr lang="en-US" b="1" dirty="0"/>
        </a:p>
      </dgm:t>
    </dgm:pt>
    <dgm:pt modelId="{309DFBA9-396F-4884-B13A-426D78553323}" type="parTrans" cxnId="{30066609-F32F-47C8-AFC3-4DF599A04544}">
      <dgm:prSet/>
      <dgm:spPr/>
      <dgm:t>
        <a:bodyPr/>
        <a:lstStyle/>
        <a:p>
          <a:endParaRPr lang="en-US" b="1"/>
        </a:p>
      </dgm:t>
    </dgm:pt>
    <dgm:pt modelId="{F23C0E59-9E47-40D7-8E73-68D319961936}" type="sibTrans" cxnId="{30066609-F32F-47C8-AFC3-4DF599A04544}">
      <dgm:prSet/>
      <dgm:spPr/>
      <dgm:t>
        <a:bodyPr/>
        <a:lstStyle/>
        <a:p>
          <a:endParaRPr lang="en-US" b="1"/>
        </a:p>
      </dgm:t>
    </dgm:pt>
    <dgm:pt modelId="{9BFCEAAE-F752-4C73-BB20-9481FF830FED}">
      <dgm:prSet phldrT="[Text]"/>
      <dgm:spPr/>
      <dgm:t>
        <a:bodyPr/>
        <a:lstStyle/>
        <a:p>
          <a:r>
            <a:rPr lang="en-US" b="1" dirty="0" smtClean="0"/>
            <a:t>Data Hub</a:t>
          </a:r>
          <a:endParaRPr lang="en-US" b="1" dirty="0"/>
        </a:p>
      </dgm:t>
    </dgm:pt>
    <dgm:pt modelId="{88579A2C-63ED-40EE-BC19-545F50C115F6}" type="parTrans" cxnId="{04891EA1-07E0-4FDB-BF21-C2D39AC60C42}">
      <dgm:prSet/>
      <dgm:spPr/>
      <dgm:t>
        <a:bodyPr/>
        <a:lstStyle/>
        <a:p>
          <a:endParaRPr lang="en-US" b="1"/>
        </a:p>
      </dgm:t>
    </dgm:pt>
    <dgm:pt modelId="{4D3DED75-B432-4265-B902-5F59F0E4DE35}" type="sibTrans" cxnId="{04891EA1-07E0-4FDB-BF21-C2D39AC60C42}">
      <dgm:prSet/>
      <dgm:spPr/>
      <dgm:t>
        <a:bodyPr/>
        <a:lstStyle/>
        <a:p>
          <a:endParaRPr lang="en-US" b="1"/>
        </a:p>
      </dgm:t>
    </dgm:pt>
    <dgm:pt modelId="{9218ED60-867A-4EF9-ADD4-CA545FB6BE8C}" type="pres">
      <dgm:prSet presAssocID="{87EFF884-988F-46C9-8417-63009A23A175}" presName="diagram" presStyleCnt="0">
        <dgm:presLayoutVars>
          <dgm:dir/>
          <dgm:resizeHandles val="exact"/>
        </dgm:presLayoutVars>
      </dgm:prSet>
      <dgm:spPr/>
      <dgm:t>
        <a:bodyPr/>
        <a:lstStyle/>
        <a:p>
          <a:endParaRPr lang="en-US"/>
        </a:p>
      </dgm:t>
    </dgm:pt>
    <dgm:pt modelId="{D8262B8B-6C4E-4550-ADD6-FD0B9D853EC3}" type="pres">
      <dgm:prSet presAssocID="{4E063126-9A30-4A3D-B449-5FCFC36FDBE4}" presName="node" presStyleLbl="node1" presStyleIdx="0" presStyleCnt="5">
        <dgm:presLayoutVars>
          <dgm:bulletEnabled val="1"/>
        </dgm:presLayoutVars>
      </dgm:prSet>
      <dgm:spPr/>
      <dgm:t>
        <a:bodyPr/>
        <a:lstStyle/>
        <a:p>
          <a:endParaRPr lang="en-US"/>
        </a:p>
      </dgm:t>
    </dgm:pt>
    <dgm:pt modelId="{F11CD8A2-8AF6-4694-B5FA-447AD6D66F53}" type="pres">
      <dgm:prSet presAssocID="{DA0FADF3-F814-48C7-A234-80F7616557A8}" presName="sibTrans" presStyleCnt="0"/>
      <dgm:spPr/>
    </dgm:pt>
    <dgm:pt modelId="{5CFCE19D-5E47-4B97-BA72-8C0F8B17D486}" type="pres">
      <dgm:prSet presAssocID="{4DDA8FC4-9D91-4F20-9394-A58BA54A5D44}" presName="node" presStyleLbl="node1" presStyleIdx="1" presStyleCnt="5">
        <dgm:presLayoutVars>
          <dgm:bulletEnabled val="1"/>
        </dgm:presLayoutVars>
      </dgm:prSet>
      <dgm:spPr/>
      <dgm:t>
        <a:bodyPr/>
        <a:lstStyle/>
        <a:p>
          <a:endParaRPr lang="en-US"/>
        </a:p>
      </dgm:t>
    </dgm:pt>
    <dgm:pt modelId="{FAC39281-1B46-4A03-8E4B-4F3D2FE36C57}" type="pres">
      <dgm:prSet presAssocID="{31B3ABF3-FF44-4C46-A5C5-B1C26E53D30F}" presName="sibTrans" presStyleCnt="0"/>
      <dgm:spPr/>
    </dgm:pt>
    <dgm:pt modelId="{C21D06D8-FEB7-41DB-900D-908F685232BF}" type="pres">
      <dgm:prSet presAssocID="{75C58ACE-248B-4298-AAC5-DA16C757D204}" presName="node" presStyleLbl="node1" presStyleIdx="2" presStyleCnt="5">
        <dgm:presLayoutVars>
          <dgm:bulletEnabled val="1"/>
        </dgm:presLayoutVars>
      </dgm:prSet>
      <dgm:spPr/>
      <dgm:t>
        <a:bodyPr/>
        <a:lstStyle/>
        <a:p>
          <a:endParaRPr lang="en-US"/>
        </a:p>
      </dgm:t>
    </dgm:pt>
    <dgm:pt modelId="{D6D80F36-76EE-4FC2-AEE3-0A4E835B17FE}" type="pres">
      <dgm:prSet presAssocID="{4B43C8EC-1D44-496B-8574-60D2012C377A}" presName="sibTrans" presStyleCnt="0"/>
      <dgm:spPr/>
    </dgm:pt>
    <dgm:pt modelId="{7C377125-F7BF-470E-A73F-887FEE4571D6}" type="pres">
      <dgm:prSet presAssocID="{CBC7F691-0456-4394-9567-82687F0DEFEC}" presName="node" presStyleLbl="node1" presStyleIdx="3" presStyleCnt="5">
        <dgm:presLayoutVars>
          <dgm:bulletEnabled val="1"/>
        </dgm:presLayoutVars>
      </dgm:prSet>
      <dgm:spPr/>
      <dgm:t>
        <a:bodyPr/>
        <a:lstStyle/>
        <a:p>
          <a:endParaRPr lang="en-US"/>
        </a:p>
      </dgm:t>
    </dgm:pt>
    <dgm:pt modelId="{37B4CD17-ECCF-4905-A6EB-DED05D1CECC4}" type="pres">
      <dgm:prSet presAssocID="{F23C0E59-9E47-40D7-8E73-68D319961936}" presName="sibTrans" presStyleCnt="0"/>
      <dgm:spPr/>
    </dgm:pt>
    <dgm:pt modelId="{8991BEFB-68FC-4DAD-A6CB-84C7C7E84224}" type="pres">
      <dgm:prSet presAssocID="{9BFCEAAE-F752-4C73-BB20-9481FF830FED}" presName="node" presStyleLbl="node1" presStyleIdx="4" presStyleCnt="5">
        <dgm:presLayoutVars>
          <dgm:bulletEnabled val="1"/>
        </dgm:presLayoutVars>
      </dgm:prSet>
      <dgm:spPr/>
      <dgm:t>
        <a:bodyPr/>
        <a:lstStyle/>
        <a:p>
          <a:endParaRPr lang="en-US"/>
        </a:p>
      </dgm:t>
    </dgm:pt>
  </dgm:ptLst>
  <dgm:cxnLst>
    <dgm:cxn modelId="{B4D79C78-769F-4A09-ADE5-79F1CEF589A4}" type="presOf" srcId="{87EFF884-988F-46C9-8417-63009A23A175}" destId="{9218ED60-867A-4EF9-ADD4-CA545FB6BE8C}" srcOrd="0" destOrd="0" presId="urn:microsoft.com/office/officeart/2005/8/layout/default#3"/>
    <dgm:cxn modelId="{30066609-F32F-47C8-AFC3-4DF599A04544}" srcId="{87EFF884-988F-46C9-8417-63009A23A175}" destId="{CBC7F691-0456-4394-9567-82687F0DEFEC}" srcOrd="3" destOrd="0" parTransId="{309DFBA9-396F-4884-B13A-426D78553323}" sibTransId="{F23C0E59-9E47-40D7-8E73-68D319961936}"/>
    <dgm:cxn modelId="{561EB01E-6BE2-4163-89A4-D3CDA43C345A}" type="presOf" srcId="{4E063126-9A30-4A3D-B449-5FCFC36FDBE4}" destId="{D8262B8B-6C4E-4550-ADD6-FD0B9D853EC3}" srcOrd="0" destOrd="0" presId="urn:microsoft.com/office/officeart/2005/8/layout/default#3"/>
    <dgm:cxn modelId="{04891EA1-07E0-4FDB-BF21-C2D39AC60C42}" srcId="{87EFF884-988F-46C9-8417-63009A23A175}" destId="{9BFCEAAE-F752-4C73-BB20-9481FF830FED}" srcOrd="4" destOrd="0" parTransId="{88579A2C-63ED-40EE-BC19-545F50C115F6}" sibTransId="{4D3DED75-B432-4265-B902-5F59F0E4DE35}"/>
    <dgm:cxn modelId="{D434781B-6B5A-482A-A092-D247D39A6F30}" srcId="{87EFF884-988F-46C9-8417-63009A23A175}" destId="{4E063126-9A30-4A3D-B449-5FCFC36FDBE4}" srcOrd="0" destOrd="0" parTransId="{C49A88C9-F15F-45D7-800D-662359EC75F5}" sibTransId="{DA0FADF3-F814-48C7-A234-80F7616557A8}"/>
    <dgm:cxn modelId="{02E268F4-05E3-4ADD-8F28-AC812BF6C939}" type="presOf" srcId="{CBC7F691-0456-4394-9567-82687F0DEFEC}" destId="{7C377125-F7BF-470E-A73F-887FEE4571D6}" srcOrd="0" destOrd="0" presId="urn:microsoft.com/office/officeart/2005/8/layout/default#3"/>
    <dgm:cxn modelId="{F66900C4-1DB5-4CEF-A064-CA211B903E98}" type="presOf" srcId="{4DDA8FC4-9D91-4F20-9394-A58BA54A5D44}" destId="{5CFCE19D-5E47-4B97-BA72-8C0F8B17D486}" srcOrd="0" destOrd="0" presId="urn:microsoft.com/office/officeart/2005/8/layout/default#3"/>
    <dgm:cxn modelId="{55898A07-7C47-4B43-B9BF-12F62E72FEF5}" type="presOf" srcId="{75C58ACE-248B-4298-AAC5-DA16C757D204}" destId="{C21D06D8-FEB7-41DB-900D-908F685232BF}" srcOrd="0" destOrd="0" presId="urn:microsoft.com/office/officeart/2005/8/layout/default#3"/>
    <dgm:cxn modelId="{86F0D915-31D0-458C-A93D-9F613346031E}" srcId="{87EFF884-988F-46C9-8417-63009A23A175}" destId="{4DDA8FC4-9D91-4F20-9394-A58BA54A5D44}" srcOrd="1" destOrd="0" parTransId="{B4BD9DA8-0F00-4529-A739-A2C345DCAC7B}" sibTransId="{31B3ABF3-FF44-4C46-A5C5-B1C26E53D30F}"/>
    <dgm:cxn modelId="{F747E727-0B80-4D92-AE38-7A3F1E870C1F}" srcId="{87EFF884-988F-46C9-8417-63009A23A175}" destId="{75C58ACE-248B-4298-AAC5-DA16C757D204}" srcOrd="2" destOrd="0" parTransId="{B36DC5BE-B769-4A9F-A219-391E22C7B313}" sibTransId="{4B43C8EC-1D44-496B-8574-60D2012C377A}"/>
    <dgm:cxn modelId="{574CE8D2-71B1-4C18-8721-65A23ED04533}" type="presOf" srcId="{9BFCEAAE-F752-4C73-BB20-9481FF830FED}" destId="{8991BEFB-68FC-4DAD-A6CB-84C7C7E84224}" srcOrd="0" destOrd="0" presId="urn:microsoft.com/office/officeart/2005/8/layout/default#3"/>
    <dgm:cxn modelId="{59B7CFFB-7F81-4D2A-A2E8-24F6C35B4BE0}" type="presParOf" srcId="{9218ED60-867A-4EF9-ADD4-CA545FB6BE8C}" destId="{D8262B8B-6C4E-4550-ADD6-FD0B9D853EC3}" srcOrd="0" destOrd="0" presId="urn:microsoft.com/office/officeart/2005/8/layout/default#3"/>
    <dgm:cxn modelId="{2B046126-8894-4ED0-9B60-117D9AC76A8B}" type="presParOf" srcId="{9218ED60-867A-4EF9-ADD4-CA545FB6BE8C}" destId="{F11CD8A2-8AF6-4694-B5FA-447AD6D66F53}" srcOrd="1" destOrd="0" presId="urn:microsoft.com/office/officeart/2005/8/layout/default#3"/>
    <dgm:cxn modelId="{D08FD773-0D0B-4030-8B80-A965621B8F29}" type="presParOf" srcId="{9218ED60-867A-4EF9-ADD4-CA545FB6BE8C}" destId="{5CFCE19D-5E47-4B97-BA72-8C0F8B17D486}" srcOrd="2" destOrd="0" presId="urn:microsoft.com/office/officeart/2005/8/layout/default#3"/>
    <dgm:cxn modelId="{7FCD9E37-CE0B-4099-B6A5-AA7CF5775EE1}" type="presParOf" srcId="{9218ED60-867A-4EF9-ADD4-CA545FB6BE8C}" destId="{FAC39281-1B46-4A03-8E4B-4F3D2FE36C57}" srcOrd="3" destOrd="0" presId="urn:microsoft.com/office/officeart/2005/8/layout/default#3"/>
    <dgm:cxn modelId="{F7E68EF7-DA47-4659-A4AE-8649427A2EB0}" type="presParOf" srcId="{9218ED60-867A-4EF9-ADD4-CA545FB6BE8C}" destId="{C21D06D8-FEB7-41DB-900D-908F685232BF}" srcOrd="4" destOrd="0" presId="urn:microsoft.com/office/officeart/2005/8/layout/default#3"/>
    <dgm:cxn modelId="{E0489AF8-07A0-459B-8D2D-B62349156E61}" type="presParOf" srcId="{9218ED60-867A-4EF9-ADD4-CA545FB6BE8C}" destId="{D6D80F36-76EE-4FC2-AEE3-0A4E835B17FE}" srcOrd="5" destOrd="0" presId="urn:microsoft.com/office/officeart/2005/8/layout/default#3"/>
    <dgm:cxn modelId="{19DC2FE5-097F-4437-86F4-1106A09C3734}" type="presParOf" srcId="{9218ED60-867A-4EF9-ADD4-CA545FB6BE8C}" destId="{7C377125-F7BF-470E-A73F-887FEE4571D6}" srcOrd="6" destOrd="0" presId="urn:microsoft.com/office/officeart/2005/8/layout/default#3"/>
    <dgm:cxn modelId="{333D5942-28EE-483A-A5FB-4774C690011C}" type="presParOf" srcId="{9218ED60-867A-4EF9-ADD4-CA545FB6BE8C}" destId="{37B4CD17-ECCF-4905-A6EB-DED05D1CECC4}" srcOrd="7" destOrd="0" presId="urn:microsoft.com/office/officeart/2005/8/layout/default#3"/>
    <dgm:cxn modelId="{666910E2-BAC3-4AC7-A4A1-45B2F1100685}" type="presParOf" srcId="{9218ED60-867A-4EF9-ADD4-CA545FB6BE8C}" destId="{8991BEFB-68FC-4DAD-A6CB-84C7C7E84224}" srcOrd="8" destOrd="0" presId="urn:microsoft.com/office/officeart/2005/8/layout/defaul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79F5CF-8410-4CAD-A8CF-F4BA1B778E1E}"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650F3FCB-6E44-4AC1-8BBB-C34CD220CEC4}">
      <dgm:prSet phldrT="[Text]" custT="1"/>
      <dgm:spPr/>
      <dgm:t>
        <a:bodyPr/>
        <a:lstStyle/>
        <a:p>
          <a:r>
            <a:rPr kumimoji="0" lang="en-US" sz="1800" b="1" i="0" u="none" strike="noStrike" cap="none" spc="0" normalizeH="0" baseline="0" noProof="0" dirty="0" smtClean="0">
              <a:ln/>
              <a:effectLst/>
              <a:uLnTx/>
              <a:uFillTx/>
              <a:latin typeface="+mn-lt"/>
              <a:ea typeface="+mn-ea"/>
              <a:cs typeface="+mn-cs"/>
            </a:rPr>
            <a:t>Database</a:t>
          </a:r>
          <a:endParaRPr lang="en-US" sz="1800" b="1" dirty="0"/>
        </a:p>
      </dgm:t>
    </dgm:pt>
    <dgm:pt modelId="{404C722B-FDD2-4A71-8A73-231768193FC1}" type="parTrans" cxnId="{4402A471-8975-4208-B694-37A4BF4AE13E}">
      <dgm:prSet/>
      <dgm:spPr/>
      <dgm:t>
        <a:bodyPr/>
        <a:lstStyle/>
        <a:p>
          <a:endParaRPr lang="en-US" sz="1800"/>
        </a:p>
      </dgm:t>
    </dgm:pt>
    <dgm:pt modelId="{122F1DCF-4EE4-4170-9132-644A03FA18C2}" type="sibTrans" cxnId="{4402A471-8975-4208-B694-37A4BF4AE13E}">
      <dgm:prSet/>
      <dgm:spPr/>
      <dgm:t>
        <a:bodyPr/>
        <a:lstStyle/>
        <a:p>
          <a:endParaRPr lang="en-US" sz="1800"/>
        </a:p>
      </dgm:t>
    </dgm:pt>
    <dgm:pt modelId="{DDE43293-AA6D-47D1-9C5C-8454F051D2B2}">
      <dgm:prSet phldrT="[Text]" custT="1"/>
      <dgm:spPr/>
      <dgm:t>
        <a:bodyPr/>
        <a:lstStyle/>
        <a:p>
          <a:r>
            <a:rPr lang="en-US" sz="1800" b="0" i="0" dirty="0" smtClean="0">
              <a:latin typeface="Arial" charset="0"/>
              <a:ea typeface="+mn-ea"/>
              <a:cs typeface="+mn-cs"/>
            </a:rPr>
            <a:t>Database is a physical container for collections. Each database gets its own set of files on the file system. A single MongoDB server typically has multiple databases.</a:t>
          </a:r>
          <a:endParaRPr lang="en-US" sz="1800" dirty="0"/>
        </a:p>
      </dgm:t>
    </dgm:pt>
    <dgm:pt modelId="{D8E13634-0171-44A5-B6D8-C09BEE6514E0}" type="parTrans" cxnId="{C06047E3-D4E1-4BDB-8CFF-BF6FB44FBA7F}">
      <dgm:prSet/>
      <dgm:spPr/>
      <dgm:t>
        <a:bodyPr/>
        <a:lstStyle/>
        <a:p>
          <a:endParaRPr lang="en-US" sz="1800"/>
        </a:p>
      </dgm:t>
    </dgm:pt>
    <dgm:pt modelId="{BD239765-5142-454F-BCAC-68E99DF9948D}" type="sibTrans" cxnId="{C06047E3-D4E1-4BDB-8CFF-BF6FB44FBA7F}">
      <dgm:prSet/>
      <dgm:spPr/>
      <dgm:t>
        <a:bodyPr/>
        <a:lstStyle/>
        <a:p>
          <a:endParaRPr lang="en-US" sz="1800"/>
        </a:p>
      </dgm:t>
    </dgm:pt>
    <dgm:pt modelId="{34FE4D98-D595-4994-8F16-1876D9388EBD}">
      <dgm:prSet phldrT="[Text]" custT="1"/>
      <dgm:spPr/>
      <dgm:t>
        <a:bodyPr/>
        <a:lstStyle/>
        <a:p>
          <a:r>
            <a:rPr kumimoji="0" lang="en-US" sz="1800" b="1" i="0" u="none" strike="noStrike" cap="none" spc="0" normalizeH="0" noProof="0" dirty="0" smtClean="0">
              <a:ln/>
              <a:effectLst/>
              <a:uLnTx/>
              <a:uFillTx/>
              <a:latin typeface="+mn-lt"/>
              <a:ea typeface="+mn-ea"/>
              <a:cs typeface="+mn-cs"/>
            </a:rPr>
            <a:t>Collection</a:t>
          </a:r>
          <a:endParaRPr lang="en-US" sz="1800" b="1" dirty="0"/>
        </a:p>
      </dgm:t>
    </dgm:pt>
    <dgm:pt modelId="{1D2FB4C0-3AF5-47C9-9A85-138BCEB5950D}" type="parTrans" cxnId="{E2A1B2E8-D9B7-424E-9D6F-354127E377FB}">
      <dgm:prSet/>
      <dgm:spPr/>
      <dgm:t>
        <a:bodyPr/>
        <a:lstStyle/>
        <a:p>
          <a:endParaRPr lang="en-US" sz="1800"/>
        </a:p>
      </dgm:t>
    </dgm:pt>
    <dgm:pt modelId="{41B0B4AC-9F11-436E-94B1-C9F013479335}" type="sibTrans" cxnId="{E2A1B2E8-D9B7-424E-9D6F-354127E377FB}">
      <dgm:prSet/>
      <dgm:spPr/>
      <dgm:t>
        <a:bodyPr/>
        <a:lstStyle/>
        <a:p>
          <a:endParaRPr lang="en-US" sz="1800"/>
        </a:p>
      </dgm:t>
    </dgm:pt>
    <dgm:pt modelId="{89011C14-1013-47C8-913F-CDF9D1F6ED55}">
      <dgm:prSet phldrT="[Text]" custT="1"/>
      <dgm:spPr/>
      <dgm:t>
        <a:bodyPr/>
        <a:lstStyle/>
        <a:p>
          <a:r>
            <a:rPr lang="en-US" sz="1800" b="0" i="0" dirty="0" smtClean="0">
              <a:latin typeface="Arial" charset="0"/>
              <a:ea typeface="+mn-ea"/>
              <a:cs typeface="+mn-cs"/>
            </a:rPr>
            <a:t>Collection is a group of MongoDB documents. It is the equivalent of an RDBMS table. A collection exists within a single database. Collections do not enforce a schema. Documents within a collection can have different fields. Typically, all documents in a collection are of similar or related purpose.</a:t>
          </a:r>
          <a:endParaRPr lang="en-US" sz="1800" dirty="0"/>
        </a:p>
      </dgm:t>
    </dgm:pt>
    <dgm:pt modelId="{7A5D2155-E474-46B2-88EC-E9BB8EDAA99C}" type="parTrans" cxnId="{0359F4FE-1378-48F7-BFCC-675FA1597DAB}">
      <dgm:prSet/>
      <dgm:spPr/>
      <dgm:t>
        <a:bodyPr/>
        <a:lstStyle/>
        <a:p>
          <a:endParaRPr lang="en-US" sz="1800"/>
        </a:p>
      </dgm:t>
    </dgm:pt>
    <dgm:pt modelId="{264D9249-2EDF-4EC2-ACBE-E9E4FEE657D9}" type="sibTrans" cxnId="{0359F4FE-1378-48F7-BFCC-675FA1597DAB}">
      <dgm:prSet/>
      <dgm:spPr/>
      <dgm:t>
        <a:bodyPr/>
        <a:lstStyle/>
        <a:p>
          <a:endParaRPr lang="en-US" sz="1800"/>
        </a:p>
      </dgm:t>
    </dgm:pt>
    <dgm:pt modelId="{E34D501F-AE43-492B-A571-1483DEC55D2A}">
      <dgm:prSet phldrT="[Text]" custT="1"/>
      <dgm:spPr/>
      <dgm:t>
        <a:bodyPr/>
        <a:lstStyle/>
        <a:p>
          <a:r>
            <a:rPr lang="en-US" sz="1800" b="1" i="0" dirty="0" smtClean="0">
              <a:latin typeface="Arial" charset="0"/>
              <a:ea typeface="+mn-ea"/>
              <a:cs typeface="+mn-cs"/>
            </a:rPr>
            <a:t>Document </a:t>
          </a:r>
          <a:endParaRPr lang="en-US" sz="1800" b="1" dirty="0"/>
        </a:p>
      </dgm:t>
    </dgm:pt>
    <dgm:pt modelId="{A9B0E7A1-FAEA-4827-AEF6-5CDA6F71BAED}" type="parTrans" cxnId="{F9B3BF57-D40E-40CC-B418-A0FC6FC00BAB}">
      <dgm:prSet/>
      <dgm:spPr/>
      <dgm:t>
        <a:bodyPr/>
        <a:lstStyle/>
        <a:p>
          <a:endParaRPr lang="en-US" sz="1800"/>
        </a:p>
      </dgm:t>
    </dgm:pt>
    <dgm:pt modelId="{838C6BDE-211E-42AB-BEF7-671589A04E58}" type="sibTrans" cxnId="{F9B3BF57-D40E-40CC-B418-A0FC6FC00BAB}">
      <dgm:prSet/>
      <dgm:spPr/>
      <dgm:t>
        <a:bodyPr/>
        <a:lstStyle/>
        <a:p>
          <a:endParaRPr lang="en-US" sz="1800"/>
        </a:p>
      </dgm:t>
    </dgm:pt>
    <dgm:pt modelId="{5C97B891-8948-4EBA-B43D-3C1636BE7DE3}">
      <dgm:prSet phldrT="[Text]" custT="1"/>
      <dgm:spPr/>
      <dgm:t>
        <a:bodyPr/>
        <a:lstStyle/>
        <a:p>
          <a:r>
            <a:rPr lang="en-US" sz="1800" b="0" i="0" dirty="0" smtClean="0">
              <a:latin typeface="Arial" charset="0"/>
              <a:ea typeface="+mn-ea"/>
              <a:cs typeface="+mn-cs"/>
            </a:rPr>
            <a:t>A document is a set of key-value pairs. Documents have dynamic schema. Dynamic schema means that documents in the same collection do not need to have the same set of fields or structure, and common fields in a collection's documents may hold different types of data.</a:t>
          </a:r>
          <a:endParaRPr lang="en-US" sz="1800" dirty="0"/>
        </a:p>
      </dgm:t>
    </dgm:pt>
    <dgm:pt modelId="{5D91FC46-3994-4CDE-B664-17587AE7A731}" type="parTrans" cxnId="{2AB6021C-95DD-4204-B8F8-B4B674B73755}">
      <dgm:prSet/>
      <dgm:spPr/>
      <dgm:t>
        <a:bodyPr/>
        <a:lstStyle/>
        <a:p>
          <a:endParaRPr lang="en-US" sz="1800"/>
        </a:p>
      </dgm:t>
    </dgm:pt>
    <dgm:pt modelId="{4ACB197D-46CE-410C-A475-2C5BDA922F52}" type="sibTrans" cxnId="{2AB6021C-95DD-4204-B8F8-B4B674B73755}">
      <dgm:prSet/>
      <dgm:spPr/>
      <dgm:t>
        <a:bodyPr/>
        <a:lstStyle/>
        <a:p>
          <a:endParaRPr lang="en-US" sz="1800"/>
        </a:p>
      </dgm:t>
    </dgm:pt>
    <dgm:pt modelId="{D6635910-810E-4BBA-A9CE-3216EC1E984E}" type="pres">
      <dgm:prSet presAssocID="{BF79F5CF-8410-4CAD-A8CF-F4BA1B778E1E}" presName="Name0" presStyleCnt="0">
        <dgm:presLayoutVars>
          <dgm:dir/>
          <dgm:animLvl val="lvl"/>
          <dgm:resizeHandles val="exact"/>
        </dgm:presLayoutVars>
      </dgm:prSet>
      <dgm:spPr/>
      <dgm:t>
        <a:bodyPr/>
        <a:lstStyle/>
        <a:p>
          <a:endParaRPr lang="en-US"/>
        </a:p>
      </dgm:t>
    </dgm:pt>
    <dgm:pt modelId="{9A8535E7-C5F5-47DE-B1AB-6EBF61CB4BB2}" type="pres">
      <dgm:prSet presAssocID="{650F3FCB-6E44-4AC1-8BBB-C34CD220CEC4}" presName="linNode" presStyleCnt="0"/>
      <dgm:spPr/>
    </dgm:pt>
    <dgm:pt modelId="{985DEF69-AF3F-4BA4-809D-DA9BC81EA066}" type="pres">
      <dgm:prSet presAssocID="{650F3FCB-6E44-4AC1-8BBB-C34CD220CEC4}" presName="parentText" presStyleLbl="node1" presStyleIdx="0" presStyleCnt="3" custScaleX="64500" custLinFactNeighborX="-10261">
        <dgm:presLayoutVars>
          <dgm:chMax val="1"/>
          <dgm:bulletEnabled val="1"/>
        </dgm:presLayoutVars>
      </dgm:prSet>
      <dgm:spPr/>
      <dgm:t>
        <a:bodyPr/>
        <a:lstStyle/>
        <a:p>
          <a:endParaRPr lang="en-US"/>
        </a:p>
      </dgm:t>
    </dgm:pt>
    <dgm:pt modelId="{BD63D0AA-1BEB-40F8-9781-33C1CD04103D}" type="pres">
      <dgm:prSet presAssocID="{650F3FCB-6E44-4AC1-8BBB-C34CD220CEC4}" presName="descendantText" presStyleLbl="alignAccFollowNode1" presStyleIdx="0" presStyleCnt="3" custScaleX="119393">
        <dgm:presLayoutVars>
          <dgm:bulletEnabled val="1"/>
        </dgm:presLayoutVars>
      </dgm:prSet>
      <dgm:spPr/>
      <dgm:t>
        <a:bodyPr/>
        <a:lstStyle/>
        <a:p>
          <a:endParaRPr lang="en-US"/>
        </a:p>
      </dgm:t>
    </dgm:pt>
    <dgm:pt modelId="{A8A00785-96B8-483A-B462-2CC76ABDC6BA}" type="pres">
      <dgm:prSet presAssocID="{122F1DCF-4EE4-4170-9132-644A03FA18C2}" presName="sp" presStyleCnt="0"/>
      <dgm:spPr/>
    </dgm:pt>
    <dgm:pt modelId="{65AF4E77-1816-48F1-B81C-DF1EE91B0C0F}" type="pres">
      <dgm:prSet presAssocID="{34FE4D98-D595-4994-8F16-1876D9388EBD}" presName="linNode" presStyleCnt="0"/>
      <dgm:spPr/>
    </dgm:pt>
    <dgm:pt modelId="{A56E1515-DF23-43A7-B9D9-AD9A280AD867}" type="pres">
      <dgm:prSet presAssocID="{34FE4D98-D595-4994-8F16-1876D9388EBD}" presName="parentText" presStyleLbl="node1" presStyleIdx="1" presStyleCnt="3" custScaleX="64500" custLinFactNeighborX="-10261">
        <dgm:presLayoutVars>
          <dgm:chMax val="1"/>
          <dgm:bulletEnabled val="1"/>
        </dgm:presLayoutVars>
      </dgm:prSet>
      <dgm:spPr/>
      <dgm:t>
        <a:bodyPr/>
        <a:lstStyle/>
        <a:p>
          <a:endParaRPr lang="en-US"/>
        </a:p>
      </dgm:t>
    </dgm:pt>
    <dgm:pt modelId="{27A0BB42-7978-4F9C-8E49-FA2557FDFF12}" type="pres">
      <dgm:prSet presAssocID="{34FE4D98-D595-4994-8F16-1876D9388EBD}" presName="descendantText" presStyleLbl="alignAccFollowNode1" presStyleIdx="1" presStyleCnt="3" custScaleX="119393" custScaleY="144284">
        <dgm:presLayoutVars>
          <dgm:bulletEnabled val="1"/>
        </dgm:presLayoutVars>
      </dgm:prSet>
      <dgm:spPr/>
      <dgm:t>
        <a:bodyPr/>
        <a:lstStyle/>
        <a:p>
          <a:endParaRPr lang="en-US"/>
        </a:p>
      </dgm:t>
    </dgm:pt>
    <dgm:pt modelId="{14B70C94-7B37-4480-A048-1CD8AF943E9A}" type="pres">
      <dgm:prSet presAssocID="{41B0B4AC-9F11-436E-94B1-C9F013479335}" presName="sp" presStyleCnt="0"/>
      <dgm:spPr/>
    </dgm:pt>
    <dgm:pt modelId="{B4E67F39-739E-4030-9E55-4D6E2264E1B1}" type="pres">
      <dgm:prSet presAssocID="{E34D501F-AE43-492B-A571-1483DEC55D2A}" presName="linNode" presStyleCnt="0"/>
      <dgm:spPr/>
    </dgm:pt>
    <dgm:pt modelId="{FF0C317D-0626-48B7-86E6-638E9CA1A7C8}" type="pres">
      <dgm:prSet presAssocID="{E34D501F-AE43-492B-A571-1483DEC55D2A}" presName="parentText" presStyleLbl="node1" presStyleIdx="2" presStyleCnt="3" custScaleX="64500" custLinFactNeighborX="-10261">
        <dgm:presLayoutVars>
          <dgm:chMax val="1"/>
          <dgm:bulletEnabled val="1"/>
        </dgm:presLayoutVars>
      </dgm:prSet>
      <dgm:spPr/>
      <dgm:t>
        <a:bodyPr/>
        <a:lstStyle/>
        <a:p>
          <a:endParaRPr lang="en-US"/>
        </a:p>
      </dgm:t>
    </dgm:pt>
    <dgm:pt modelId="{DF71A630-C40A-4B5D-A4AB-FB0D8EDC2A07}" type="pres">
      <dgm:prSet presAssocID="{E34D501F-AE43-492B-A571-1483DEC55D2A}" presName="descendantText" presStyleLbl="alignAccFollowNode1" presStyleIdx="2" presStyleCnt="3" custScaleX="119393" custScaleY="117097">
        <dgm:presLayoutVars>
          <dgm:bulletEnabled val="1"/>
        </dgm:presLayoutVars>
      </dgm:prSet>
      <dgm:spPr/>
      <dgm:t>
        <a:bodyPr/>
        <a:lstStyle/>
        <a:p>
          <a:endParaRPr lang="en-US"/>
        </a:p>
      </dgm:t>
    </dgm:pt>
  </dgm:ptLst>
  <dgm:cxnLst>
    <dgm:cxn modelId="{E2A1B2E8-D9B7-424E-9D6F-354127E377FB}" srcId="{BF79F5CF-8410-4CAD-A8CF-F4BA1B778E1E}" destId="{34FE4D98-D595-4994-8F16-1876D9388EBD}" srcOrd="1" destOrd="0" parTransId="{1D2FB4C0-3AF5-47C9-9A85-138BCEB5950D}" sibTransId="{41B0B4AC-9F11-436E-94B1-C9F013479335}"/>
    <dgm:cxn modelId="{F42120FD-4A85-4259-9D09-1329EFE2224E}" type="presOf" srcId="{650F3FCB-6E44-4AC1-8BBB-C34CD220CEC4}" destId="{985DEF69-AF3F-4BA4-809D-DA9BC81EA066}" srcOrd="0" destOrd="0" presId="urn:microsoft.com/office/officeart/2005/8/layout/vList5"/>
    <dgm:cxn modelId="{F34254DB-1671-4F7C-A032-3FF818D8267F}" type="presOf" srcId="{89011C14-1013-47C8-913F-CDF9D1F6ED55}" destId="{27A0BB42-7978-4F9C-8E49-FA2557FDFF12}" srcOrd="0" destOrd="0" presId="urn:microsoft.com/office/officeart/2005/8/layout/vList5"/>
    <dgm:cxn modelId="{C06047E3-D4E1-4BDB-8CFF-BF6FB44FBA7F}" srcId="{650F3FCB-6E44-4AC1-8BBB-C34CD220CEC4}" destId="{DDE43293-AA6D-47D1-9C5C-8454F051D2B2}" srcOrd="0" destOrd="0" parTransId="{D8E13634-0171-44A5-B6D8-C09BEE6514E0}" sibTransId="{BD239765-5142-454F-BCAC-68E99DF9948D}"/>
    <dgm:cxn modelId="{39E140A5-2D1A-47D6-B477-EB802BC73ECA}" type="presOf" srcId="{34FE4D98-D595-4994-8F16-1876D9388EBD}" destId="{A56E1515-DF23-43A7-B9D9-AD9A280AD867}" srcOrd="0" destOrd="0" presId="urn:microsoft.com/office/officeart/2005/8/layout/vList5"/>
    <dgm:cxn modelId="{0359F4FE-1378-48F7-BFCC-675FA1597DAB}" srcId="{34FE4D98-D595-4994-8F16-1876D9388EBD}" destId="{89011C14-1013-47C8-913F-CDF9D1F6ED55}" srcOrd="0" destOrd="0" parTransId="{7A5D2155-E474-46B2-88EC-E9BB8EDAA99C}" sibTransId="{264D9249-2EDF-4EC2-ACBE-E9E4FEE657D9}"/>
    <dgm:cxn modelId="{2ECC5F3C-81F6-46C4-848C-FF0FE3E42846}" type="presOf" srcId="{DDE43293-AA6D-47D1-9C5C-8454F051D2B2}" destId="{BD63D0AA-1BEB-40F8-9781-33C1CD04103D}" srcOrd="0" destOrd="0" presId="urn:microsoft.com/office/officeart/2005/8/layout/vList5"/>
    <dgm:cxn modelId="{F9B3BF57-D40E-40CC-B418-A0FC6FC00BAB}" srcId="{BF79F5CF-8410-4CAD-A8CF-F4BA1B778E1E}" destId="{E34D501F-AE43-492B-A571-1483DEC55D2A}" srcOrd="2" destOrd="0" parTransId="{A9B0E7A1-FAEA-4827-AEF6-5CDA6F71BAED}" sibTransId="{838C6BDE-211E-42AB-BEF7-671589A04E58}"/>
    <dgm:cxn modelId="{C6001308-A26B-4499-B109-3E3B769E824F}" type="presOf" srcId="{5C97B891-8948-4EBA-B43D-3C1636BE7DE3}" destId="{DF71A630-C40A-4B5D-A4AB-FB0D8EDC2A07}" srcOrd="0" destOrd="0" presId="urn:microsoft.com/office/officeart/2005/8/layout/vList5"/>
    <dgm:cxn modelId="{4402A471-8975-4208-B694-37A4BF4AE13E}" srcId="{BF79F5CF-8410-4CAD-A8CF-F4BA1B778E1E}" destId="{650F3FCB-6E44-4AC1-8BBB-C34CD220CEC4}" srcOrd="0" destOrd="0" parTransId="{404C722B-FDD2-4A71-8A73-231768193FC1}" sibTransId="{122F1DCF-4EE4-4170-9132-644A03FA18C2}"/>
    <dgm:cxn modelId="{2AB6021C-95DD-4204-B8F8-B4B674B73755}" srcId="{E34D501F-AE43-492B-A571-1483DEC55D2A}" destId="{5C97B891-8948-4EBA-B43D-3C1636BE7DE3}" srcOrd="0" destOrd="0" parTransId="{5D91FC46-3994-4CDE-B664-17587AE7A731}" sibTransId="{4ACB197D-46CE-410C-A475-2C5BDA922F52}"/>
    <dgm:cxn modelId="{2BAF9593-14AC-4A95-A10A-CC17898530F3}" type="presOf" srcId="{E34D501F-AE43-492B-A571-1483DEC55D2A}" destId="{FF0C317D-0626-48B7-86E6-638E9CA1A7C8}" srcOrd="0" destOrd="0" presId="urn:microsoft.com/office/officeart/2005/8/layout/vList5"/>
    <dgm:cxn modelId="{2CAAB7CD-E61D-4DCA-8C92-4121E1319C1D}" type="presOf" srcId="{BF79F5CF-8410-4CAD-A8CF-F4BA1B778E1E}" destId="{D6635910-810E-4BBA-A9CE-3216EC1E984E}" srcOrd="0" destOrd="0" presId="urn:microsoft.com/office/officeart/2005/8/layout/vList5"/>
    <dgm:cxn modelId="{EB6B4D31-8217-4FF9-913C-0E1AD773923C}" type="presParOf" srcId="{D6635910-810E-4BBA-A9CE-3216EC1E984E}" destId="{9A8535E7-C5F5-47DE-B1AB-6EBF61CB4BB2}" srcOrd="0" destOrd="0" presId="urn:microsoft.com/office/officeart/2005/8/layout/vList5"/>
    <dgm:cxn modelId="{CAC6DB9D-AACC-48C7-9CF3-0132ECB51136}" type="presParOf" srcId="{9A8535E7-C5F5-47DE-B1AB-6EBF61CB4BB2}" destId="{985DEF69-AF3F-4BA4-809D-DA9BC81EA066}" srcOrd="0" destOrd="0" presId="urn:microsoft.com/office/officeart/2005/8/layout/vList5"/>
    <dgm:cxn modelId="{ACC9F9B8-7D6B-4394-9813-CAA79E64B008}" type="presParOf" srcId="{9A8535E7-C5F5-47DE-B1AB-6EBF61CB4BB2}" destId="{BD63D0AA-1BEB-40F8-9781-33C1CD04103D}" srcOrd="1" destOrd="0" presId="urn:microsoft.com/office/officeart/2005/8/layout/vList5"/>
    <dgm:cxn modelId="{46C360AD-AE06-41B0-BA73-E796C246746E}" type="presParOf" srcId="{D6635910-810E-4BBA-A9CE-3216EC1E984E}" destId="{A8A00785-96B8-483A-B462-2CC76ABDC6BA}" srcOrd="1" destOrd="0" presId="urn:microsoft.com/office/officeart/2005/8/layout/vList5"/>
    <dgm:cxn modelId="{8FF71E6F-C2B9-45D6-A9B2-CD12F0DC5759}" type="presParOf" srcId="{D6635910-810E-4BBA-A9CE-3216EC1E984E}" destId="{65AF4E77-1816-48F1-B81C-DF1EE91B0C0F}" srcOrd="2" destOrd="0" presId="urn:microsoft.com/office/officeart/2005/8/layout/vList5"/>
    <dgm:cxn modelId="{D8431BD3-157E-4759-B7F6-9BD0E01C1CA0}" type="presParOf" srcId="{65AF4E77-1816-48F1-B81C-DF1EE91B0C0F}" destId="{A56E1515-DF23-43A7-B9D9-AD9A280AD867}" srcOrd="0" destOrd="0" presId="urn:microsoft.com/office/officeart/2005/8/layout/vList5"/>
    <dgm:cxn modelId="{16395E6A-7FAA-4D04-9397-E8C672465668}" type="presParOf" srcId="{65AF4E77-1816-48F1-B81C-DF1EE91B0C0F}" destId="{27A0BB42-7978-4F9C-8E49-FA2557FDFF12}" srcOrd="1" destOrd="0" presId="urn:microsoft.com/office/officeart/2005/8/layout/vList5"/>
    <dgm:cxn modelId="{87BCAFCD-A697-4B98-AF17-1C6AAC773128}" type="presParOf" srcId="{D6635910-810E-4BBA-A9CE-3216EC1E984E}" destId="{14B70C94-7B37-4480-A048-1CD8AF943E9A}" srcOrd="3" destOrd="0" presId="urn:microsoft.com/office/officeart/2005/8/layout/vList5"/>
    <dgm:cxn modelId="{CB1FEAF4-B06E-4832-8B65-6E5623114C8C}" type="presParOf" srcId="{D6635910-810E-4BBA-A9CE-3216EC1E984E}" destId="{B4E67F39-739E-4030-9E55-4D6E2264E1B1}" srcOrd="4" destOrd="0" presId="urn:microsoft.com/office/officeart/2005/8/layout/vList5"/>
    <dgm:cxn modelId="{1AB82F85-7499-4531-A3F0-F76D7A94DA26}" type="presParOf" srcId="{B4E67F39-739E-4030-9E55-4D6E2264E1B1}" destId="{FF0C317D-0626-48B7-86E6-638E9CA1A7C8}" srcOrd="0" destOrd="0" presId="urn:microsoft.com/office/officeart/2005/8/layout/vList5"/>
    <dgm:cxn modelId="{0F49D245-62D6-4C73-A44E-E9E48CE9BF5C}" type="presParOf" srcId="{B4E67F39-739E-4030-9E55-4D6E2264E1B1}" destId="{DF71A630-C40A-4B5D-A4AB-FB0D8EDC2A07}"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8A944CD-7DC0-4FD2-B0E3-921D645B67A3}"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D9F8D2C-5A9B-44B2-B12F-FF3DAE95D5E4}">
      <dgm:prSet phldrT="[Text]" custT="1"/>
      <dgm:spPr/>
      <dgm:t>
        <a:bodyPr/>
        <a:lstStyle/>
        <a:p>
          <a:r>
            <a:rPr kumimoji="0" lang="en-US" sz="1800" b="0" i="0" u="none" strike="noStrike" cap="none" spc="0" normalizeH="0" noProof="0" dirty="0" smtClean="0">
              <a:ln/>
              <a:effectLst/>
              <a:uLnTx/>
              <a:uFillTx/>
              <a:latin typeface="+mn-lt"/>
              <a:ea typeface="+mn-ea"/>
              <a:cs typeface="+mn-cs"/>
            </a:rPr>
            <a:t>Document based (max 16 MB).</a:t>
          </a:r>
          <a:endParaRPr lang="en-US" sz="1800" dirty="0"/>
        </a:p>
      </dgm:t>
    </dgm:pt>
    <dgm:pt modelId="{492A08E0-99C2-450F-8C34-AD947D011536}" type="parTrans" cxnId="{8CD15A28-6FDA-4AEA-A1EB-04B35A43B689}">
      <dgm:prSet/>
      <dgm:spPr/>
      <dgm:t>
        <a:bodyPr/>
        <a:lstStyle/>
        <a:p>
          <a:endParaRPr lang="en-US" sz="1800"/>
        </a:p>
      </dgm:t>
    </dgm:pt>
    <dgm:pt modelId="{24A70FC5-432C-404E-9FF0-2B097F6394AA}" type="sibTrans" cxnId="{8CD15A28-6FDA-4AEA-A1EB-04B35A43B689}">
      <dgm:prSet/>
      <dgm:spPr/>
      <dgm:t>
        <a:bodyPr/>
        <a:lstStyle/>
        <a:p>
          <a:endParaRPr lang="en-US" sz="1800"/>
        </a:p>
      </dgm:t>
    </dgm:pt>
    <dgm:pt modelId="{411848DC-D8F0-4289-A2AE-D1E100F31CA9}">
      <dgm:prSet phldrT="[Text]" custT="1"/>
      <dgm:spPr/>
      <dgm:t>
        <a:bodyPr/>
        <a:lstStyle/>
        <a:p>
          <a:r>
            <a:rPr lang="en-US" sz="1800" b="0" dirty="0" smtClean="0">
              <a:latin typeface="+mn-lt"/>
            </a:rPr>
            <a:t>Documents are in BSON formats consisting of field / value </a:t>
          </a:r>
          <a:r>
            <a:rPr kumimoji="0" lang="en-US" sz="1800" b="0" i="0" u="none" strike="noStrike" cap="none" spc="0" normalizeH="0" noProof="0" dirty="0" smtClean="0">
              <a:ln/>
              <a:effectLst/>
              <a:uLnTx/>
              <a:uFillTx/>
              <a:latin typeface="+mn-lt"/>
              <a:ea typeface="+mn-ea"/>
              <a:cs typeface="+mn-cs"/>
            </a:rPr>
            <a:t>pairs.</a:t>
          </a:r>
          <a:endParaRPr lang="en-US" sz="1800" dirty="0"/>
        </a:p>
      </dgm:t>
    </dgm:pt>
    <dgm:pt modelId="{29DF425A-BB85-43B4-A996-50C34ABE3AE1}" type="parTrans" cxnId="{1B21ECDB-10B7-4BEF-B8AE-E2CCCE1C8369}">
      <dgm:prSet/>
      <dgm:spPr/>
      <dgm:t>
        <a:bodyPr/>
        <a:lstStyle/>
        <a:p>
          <a:endParaRPr lang="en-US" sz="1800"/>
        </a:p>
      </dgm:t>
    </dgm:pt>
    <dgm:pt modelId="{74D7BD3B-FAB9-48AF-8FD4-1E821E687D02}" type="sibTrans" cxnId="{1B21ECDB-10B7-4BEF-B8AE-E2CCCE1C8369}">
      <dgm:prSet/>
      <dgm:spPr/>
      <dgm:t>
        <a:bodyPr/>
        <a:lstStyle/>
        <a:p>
          <a:endParaRPr lang="en-US" sz="1800"/>
        </a:p>
      </dgm:t>
    </dgm:pt>
    <dgm:pt modelId="{C743ABB7-3C37-4ADE-8D4F-00B4900E866E}">
      <dgm:prSet phldrT="[Text]" custT="1"/>
      <dgm:spPr/>
      <dgm:t>
        <a:bodyPr/>
        <a:lstStyle/>
        <a:p>
          <a:r>
            <a:rPr kumimoji="0" lang="en-US" sz="1800" b="0" i="0" u="none" strike="noStrike" cap="none" spc="0" normalizeH="0" baseline="0" noProof="0" dirty="0" smtClean="0">
              <a:ln/>
              <a:effectLst/>
              <a:uLnTx/>
              <a:uFillTx/>
              <a:latin typeface="+mn-lt"/>
              <a:ea typeface="+mn-ea"/>
              <a:cs typeface="+mn-cs"/>
            </a:rPr>
            <a:t>Each document stored in a collection.</a:t>
          </a:r>
          <a:endParaRPr lang="en-US" sz="1800" dirty="0"/>
        </a:p>
      </dgm:t>
    </dgm:pt>
    <dgm:pt modelId="{86140F35-491B-4B6D-99E6-7ABB4AB60A9B}" type="parTrans" cxnId="{7AEABD21-BBE3-4514-90E2-64578BBD84B3}">
      <dgm:prSet/>
      <dgm:spPr/>
      <dgm:t>
        <a:bodyPr/>
        <a:lstStyle/>
        <a:p>
          <a:endParaRPr lang="en-US" sz="1800"/>
        </a:p>
      </dgm:t>
    </dgm:pt>
    <dgm:pt modelId="{A5CA6149-FB5E-4BA8-9594-42029C6904BD}" type="sibTrans" cxnId="{7AEABD21-BBE3-4514-90E2-64578BBD84B3}">
      <dgm:prSet/>
      <dgm:spPr/>
      <dgm:t>
        <a:bodyPr/>
        <a:lstStyle/>
        <a:p>
          <a:endParaRPr lang="en-US" sz="1800"/>
        </a:p>
      </dgm:t>
    </dgm:pt>
    <dgm:pt modelId="{714DA949-3C46-47B1-8199-B46D07430A3F}">
      <dgm:prSet phldrT="[Text]" custT="1"/>
      <dgm:spPr/>
      <dgm:t>
        <a:bodyPr/>
        <a:lstStyle/>
        <a:p>
          <a:r>
            <a:rPr kumimoji="0" lang="en-US" sz="1800" b="0" i="0" u="none" strike="noStrike" cap="none" spc="0" normalizeH="0" baseline="0" noProof="0" dirty="0" smtClean="0">
              <a:ln/>
              <a:effectLst/>
              <a:uLnTx/>
              <a:uFillTx/>
              <a:latin typeface="+mn-lt"/>
              <a:ea typeface="+mn-ea"/>
              <a:cs typeface="+mn-cs"/>
            </a:rPr>
            <a:t>Schema</a:t>
          </a:r>
          <a:r>
            <a:rPr kumimoji="0" lang="en-US" sz="1800" b="0" i="0" u="none" strike="noStrike" cap="none" spc="0" normalizeH="0" noProof="0" dirty="0" smtClean="0">
              <a:ln/>
              <a:effectLst/>
              <a:uLnTx/>
              <a:uFillTx/>
              <a:latin typeface="+mn-lt"/>
              <a:ea typeface="+mn-ea"/>
              <a:cs typeface="+mn-cs"/>
            </a:rPr>
            <a:t> less.</a:t>
          </a:r>
          <a:endParaRPr lang="en-US" sz="1800" dirty="0"/>
        </a:p>
      </dgm:t>
    </dgm:pt>
    <dgm:pt modelId="{37B8D14C-CED7-460A-B815-A50CD0C7D7B1}" type="parTrans" cxnId="{8A7FFC32-EAF8-49BA-94B2-C7C8E3A83F71}">
      <dgm:prSet/>
      <dgm:spPr/>
      <dgm:t>
        <a:bodyPr/>
        <a:lstStyle/>
        <a:p>
          <a:endParaRPr lang="en-US" sz="1800"/>
        </a:p>
      </dgm:t>
    </dgm:pt>
    <dgm:pt modelId="{C7A51AEF-5623-4A37-AEF6-5409F995B794}" type="sibTrans" cxnId="{8A7FFC32-EAF8-49BA-94B2-C7C8E3A83F71}">
      <dgm:prSet/>
      <dgm:spPr/>
      <dgm:t>
        <a:bodyPr/>
        <a:lstStyle/>
        <a:p>
          <a:endParaRPr lang="en-US" sz="1800"/>
        </a:p>
      </dgm:t>
    </dgm:pt>
    <dgm:pt modelId="{F9A42BAE-32FA-4D9D-970D-A0D868AC1563}" type="pres">
      <dgm:prSet presAssocID="{08A944CD-7DC0-4FD2-B0E3-921D645B67A3}" presName="linear" presStyleCnt="0">
        <dgm:presLayoutVars>
          <dgm:animLvl val="lvl"/>
          <dgm:resizeHandles val="exact"/>
        </dgm:presLayoutVars>
      </dgm:prSet>
      <dgm:spPr/>
      <dgm:t>
        <a:bodyPr/>
        <a:lstStyle/>
        <a:p>
          <a:endParaRPr lang="en-US"/>
        </a:p>
      </dgm:t>
    </dgm:pt>
    <dgm:pt modelId="{F7D4F7FF-7A90-4106-89E1-253302B88D9D}" type="pres">
      <dgm:prSet presAssocID="{1D9F8D2C-5A9B-44B2-B12F-FF3DAE95D5E4}" presName="parentText" presStyleLbl="node1" presStyleIdx="0" presStyleCnt="4">
        <dgm:presLayoutVars>
          <dgm:chMax val="0"/>
          <dgm:bulletEnabled val="1"/>
        </dgm:presLayoutVars>
      </dgm:prSet>
      <dgm:spPr/>
      <dgm:t>
        <a:bodyPr/>
        <a:lstStyle/>
        <a:p>
          <a:endParaRPr lang="en-US"/>
        </a:p>
      </dgm:t>
    </dgm:pt>
    <dgm:pt modelId="{AFF53A64-3A03-4E55-9015-556A47803F75}" type="pres">
      <dgm:prSet presAssocID="{24A70FC5-432C-404E-9FF0-2B097F6394AA}" presName="spacer" presStyleCnt="0"/>
      <dgm:spPr/>
    </dgm:pt>
    <dgm:pt modelId="{448EE699-B611-4015-B7ED-82D4AABCEDB3}" type="pres">
      <dgm:prSet presAssocID="{411848DC-D8F0-4289-A2AE-D1E100F31CA9}" presName="parentText" presStyleLbl="node1" presStyleIdx="1" presStyleCnt="4">
        <dgm:presLayoutVars>
          <dgm:chMax val="0"/>
          <dgm:bulletEnabled val="1"/>
        </dgm:presLayoutVars>
      </dgm:prSet>
      <dgm:spPr/>
      <dgm:t>
        <a:bodyPr/>
        <a:lstStyle/>
        <a:p>
          <a:endParaRPr lang="en-US"/>
        </a:p>
      </dgm:t>
    </dgm:pt>
    <dgm:pt modelId="{7723BDDA-DB31-4712-AC5E-3DEC5787A67F}" type="pres">
      <dgm:prSet presAssocID="{74D7BD3B-FAB9-48AF-8FD4-1E821E687D02}" presName="spacer" presStyleCnt="0"/>
      <dgm:spPr/>
    </dgm:pt>
    <dgm:pt modelId="{91B4606D-C022-4993-B2FC-32E1B0ECE572}" type="pres">
      <dgm:prSet presAssocID="{C743ABB7-3C37-4ADE-8D4F-00B4900E866E}" presName="parentText" presStyleLbl="node1" presStyleIdx="2" presStyleCnt="4">
        <dgm:presLayoutVars>
          <dgm:chMax val="0"/>
          <dgm:bulletEnabled val="1"/>
        </dgm:presLayoutVars>
      </dgm:prSet>
      <dgm:spPr/>
      <dgm:t>
        <a:bodyPr/>
        <a:lstStyle/>
        <a:p>
          <a:endParaRPr lang="en-US"/>
        </a:p>
      </dgm:t>
    </dgm:pt>
    <dgm:pt modelId="{27BFF064-E55B-441A-AF0D-CBF904652C95}" type="pres">
      <dgm:prSet presAssocID="{A5CA6149-FB5E-4BA8-9594-42029C6904BD}" presName="spacer" presStyleCnt="0"/>
      <dgm:spPr/>
    </dgm:pt>
    <dgm:pt modelId="{5E08730C-B87D-4E2F-A328-D278FF002D14}" type="pres">
      <dgm:prSet presAssocID="{714DA949-3C46-47B1-8199-B46D07430A3F}" presName="parentText" presStyleLbl="node1" presStyleIdx="3" presStyleCnt="4">
        <dgm:presLayoutVars>
          <dgm:chMax val="0"/>
          <dgm:bulletEnabled val="1"/>
        </dgm:presLayoutVars>
      </dgm:prSet>
      <dgm:spPr/>
      <dgm:t>
        <a:bodyPr/>
        <a:lstStyle/>
        <a:p>
          <a:endParaRPr lang="en-US"/>
        </a:p>
      </dgm:t>
    </dgm:pt>
  </dgm:ptLst>
  <dgm:cxnLst>
    <dgm:cxn modelId="{7AEABD21-BBE3-4514-90E2-64578BBD84B3}" srcId="{08A944CD-7DC0-4FD2-B0E3-921D645B67A3}" destId="{C743ABB7-3C37-4ADE-8D4F-00B4900E866E}" srcOrd="2" destOrd="0" parTransId="{86140F35-491B-4B6D-99E6-7ABB4AB60A9B}" sibTransId="{A5CA6149-FB5E-4BA8-9594-42029C6904BD}"/>
    <dgm:cxn modelId="{C27B86C3-C9B2-4D16-AC28-7A1F87D3A22D}" type="presOf" srcId="{08A944CD-7DC0-4FD2-B0E3-921D645B67A3}" destId="{F9A42BAE-32FA-4D9D-970D-A0D868AC1563}" srcOrd="0" destOrd="0" presId="urn:microsoft.com/office/officeart/2005/8/layout/vList2"/>
    <dgm:cxn modelId="{EBAF34F7-60E0-4BF2-90BD-9F6D121D6F23}" type="presOf" srcId="{1D9F8D2C-5A9B-44B2-B12F-FF3DAE95D5E4}" destId="{F7D4F7FF-7A90-4106-89E1-253302B88D9D}" srcOrd="0" destOrd="0" presId="urn:microsoft.com/office/officeart/2005/8/layout/vList2"/>
    <dgm:cxn modelId="{F7A11EA3-79A7-47E8-A3AE-A6CB1B15C4D8}" type="presOf" srcId="{714DA949-3C46-47B1-8199-B46D07430A3F}" destId="{5E08730C-B87D-4E2F-A328-D278FF002D14}" srcOrd="0" destOrd="0" presId="urn:microsoft.com/office/officeart/2005/8/layout/vList2"/>
    <dgm:cxn modelId="{8CD15A28-6FDA-4AEA-A1EB-04B35A43B689}" srcId="{08A944CD-7DC0-4FD2-B0E3-921D645B67A3}" destId="{1D9F8D2C-5A9B-44B2-B12F-FF3DAE95D5E4}" srcOrd="0" destOrd="0" parTransId="{492A08E0-99C2-450F-8C34-AD947D011536}" sibTransId="{24A70FC5-432C-404E-9FF0-2B097F6394AA}"/>
    <dgm:cxn modelId="{65D5C6BC-2DDC-4844-A988-BA3AEF11B37C}" type="presOf" srcId="{C743ABB7-3C37-4ADE-8D4F-00B4900E866E}" destId="{91B4606D-C022-4993-B2FC-32E1B0ECE572}" srcOrd="0" destOrd="0" presId="urn:microsoft.com/office/officeart/2005/8/layout/vList2"/>
    <dgm:cxn modelId="{7B5DFF6E-5377-4100-93B8-0311AE78B8F8}" type="presOf" srcId="{411848DC-D8F0-4289-A2AE-D1E100F31CA9}" destId="{448EE699-B611-4015-B7ED-82D4AABCEDB3}" srcOrd="0" destOrd="0" presId="urn:microsoft.com/office/officeart/2005/8/layout/vList2"/>
    <dgm:cxn modelId="{8A7FFC32-EAF8-49BA-94B2-C7C8E3A83F71}" srcId="{08A944CD-7DC0-4FD2-B0E3-921D645B67A3}" destId="{714DA949-3C46-47B1-8199-B46D07430A3F}" srcOrd="3" destOrd="0" parTransId="{37B8D14C-CED7-460A-B815-A50CD0C7D7B1}" sibTransId="{C7A51AEF-5623-4A37-AEF6-5409F995B794}"/>
    <dgm:cxn modelId="{1B21ECDB-10B7-4BEF-B8AE-E2CCCE1C8369}" srcId="{08A944CD-7DC0-4FD2-B0E3-921D645B67A3}" destId="{411848DC-D8F0-4289-A2AE-D1E100F31CA9}" srcOrd="1" destOrd="0" parTransId="{29DF425A-BB85-43B4-A996-50C34ABE3AE1}" sibTransId="{74D7BD3B-FAB9-48AF-8FD4-1E821E687D02}"/>
    <dgm:cxn modelId="{305E6BB2-AA5F-4EBB-B1E6-2E459C3FABC6}" type="presParOf" srcId="{F9A42BAE-32FA-4D9D-970D-A0D868AC1563}" destId="{F7D4F7FF-7A90-4106-89E1-253302B88D9D}" srcOrd="0" destOrd="0" presId="urn:microsoft.com/office/officeart/2005/8/layout/vList2"/>
    <dgm:cxn modelId="{239F522F-0955-4131-820D-D698281A9054}" type="presParOf" srcId="{F9A42BAE-32FA-4D9D-970D-A0D868AC1563}" destId="{AFF53A64-3A03-4E55-9015-556A47803F75}" srcOrd="1" destOrd="0" presId="urn:microsoft.com/office/officeart/2005/8/layout/vList2"/>
    <dgm:cxn modelId="{79EE996C-15B3-4A0D-8B4E-79A169912165}" type="presParOf" srcId="{F9A42BAE-32FA-4D9D-970D-A0D868AC1563}" destId="{448EE699-B611-4015-B7ED-82D4AABCEDB3}" srcOrd="2" destOrd="0" presId="urn:microsoft.com/office/officeart/2005/8/layout/vList2"/>
    <dgm:cxn modelId="{B307CE52-3DAF-4C1A-9348-9EDB1B711D1A}" type="presParOf" srcId="{F9A42BAE-32FA-4D9D-970D-A0D868AC1563}" destId="{7723BDDA-DB31-4712-AC5E-3DEC5787A67F}" srcOrd="3" destOrd="0" presId="urn:microsoft.com/office/officeart/2005/8/layout/vList2"/>
    <dgm:cxn modelId="{A82FB219-5997-4111-BB33-BE158556A375}" type="presParOf" srcId="{F9A42BAE-32FA-4D9D-970D-A0D868AC1563}" destId="{91B4606D-C022-4993-B2FC-32E1B0ECE572}" srcOrd="4" destOrd="0" presId="urn:microsoft.com/office/officeart/2005/8/layout/vList2"/>
    <dgm:cxn modelId="{5671A4A1-A99E-49CA-A2E4-FAB2CD5D6CAD}" type="presParOf" srcId="{F9A42BAE-32FA-4D9D-970D-A0D868AC1563}" destId="{27BFF064-E55B-441A-AF0D-CBF904652C95}" srcOrd="5" destOrd="0" presId="urn:microsoft.com/office/officeart/2005/8/layout/vList2"/>
    <dgm:cxn modelId="{8DA9C091-7911-4774-AF75-F3D2CE76439B}" type="presParOf" srcId="{F9A42BAE-32FA-4D9D-970D-A0D868AC1563}" destId="{5E08730C-B87D-4E2F-A328-D278FF002D14}"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9429F76-896C-48F3-BE20-D24D5B5BD21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7105D2C7-557B-4DDE-9F9F-418238EEFEB8}">
      <dgm:prSet phldrT="[Text]" custT="1"/>
      <dgm:spPr/>
      <dgm:t>
        <a:bodyPr/>
        <a:lstStyle/>
        <a:p>
          <a:r>
            <a:rPr lang="en-US" sz="2000" dirty="0" smtClean="0"/>
            <a:t>A MongoDB instance may have one or more Databases.</a:t>
          </a:r>
          <a:endParaRPr lang="en-US" sz="2000" dirty="0"/>
        </a:p>
      </dgm:t>
    </dgm:pt>
    <dgm:pt modelId="{2B6C7E99-A8DA-4B88-9D5D-B614ABFBC182}" type="parTrans" cxnId="{5F6230A2-F825-4052-A6BD-05F961CA928D}">
      <dgm:prSet/>
      <dgm:spPr/>
      <dgm:t>
        <a:bodyPr/>
        <a:lstStyle/>
        <a:p>
          <a:endParaRPr lang="en-US" sz="2000"/>
        </a:p>
      </dgm:t>
    </dgm:pt>
    <dgm:pt modelId="{319DBB67-1A0A-4F9B-97B8-18013B05C4F6}" type="sibTrans" cxnId="{5F6230A2-F825-4052-A6BD-05F961CA928D}">
      <dgm:prSet/>
      <dgm:spPr/>
      <dgm:t>
        <a:bodyPr/>
        <a:lstStyle/>
        <a:p>
          <a:endParaRPr lang="en-US" sz="2000"/>
        </a:p>
      </dgm:t>
    </dgm:pt>
    <dgm:pt modelId="{C681D40B-5E62-411E-B2EE-2A60982FB3B3}">
      <dgm:prSet phldrT="[Text]" custT="1"/>
      <dgm:spPr/>
      <dgm:t>
        <a:bodyPr/>
        <a:lstStyle/>
        <a:p>
          <a:r>
            <a:rPr lang="en-US" sz="2000" dirty="0" smtClean="0"/>
            <a:t>A  database may have one or more Collections.</a:t>
          </a:r>
          <a:endParaRPr lang="en-US" sz="2000" dirty="0"/>
        </a:p>
      </dgm:t>
    </dgm:pt>
    <dgm:pt modelId="{F0845669-6DCB-41C9-AAC4-19370943B0A3}" type="parTrans" cxnId="{5C31A825-10F9-448F-9788-34A406930A4F}">
      <dgm:prSet/>
      <dgm:spPr/>
      <dgm:t>
        <a:bodyPr/>
        <a:lstStyle/>
        <a:p>
          <a:endParaRPr lang="en-US" sz="2000"/>
        </a:p>
      </dgm:t>
    </dgm:pt>
    <dgm:pt modelId="{2839893F-8BD8-4BB9-97A0-D4C0D86072BE}" type="sibTrans" cxnId="{5C31A825-10F9-448F-9788-34A406930A4F}">
      <dgm:prSet/>
      <dgm:spPr/>
      <dgm:t>
        <a:bodyPr/>
        <a:lstStyle/>
        <a:p>
          <a:endParaRPr lang="en-US" sz="2000"/>
        </a:p>
      </dgm:t>
    </dgm:pt>
    <dgm:pt modelId="{F35A6ED0-C40D-47BA-875B-0EC3238CFF42}">
      <dgm:prSet phldrT="[Text]" custT="1"/>
      <dgm:spPr/>
      <dgm:t>
        <a:bodyPr/>
        <a:lstStyle/>
        <a:p>
          <a:r>
            <a:rPr lang="en-US" sz="2000" dirty="0" smtClean="0"/>
            <a:t>A collection may have zero or more Documents.</a:t>
          </a:r>
          <a:endParaRPr lang="en-US" sz="2000" dirty="0"/>
        </a:p>
      </dgm:t>
    </dgm:pt>
    <dgm:pt modelId="{9C346E95-A9AE-401A-95D6-447DBF4542A3}" type="parTrans" cxnId="{107FA661-2E4F-48D2-A273-5460A1F25268}">
      <dgm:prSet/>
      <dgm:spPr/>
      <dgm:t>
        <a:bodyPr/>
        <a:lstStyle/>
        <a:p>
          <a:endParaRPr lang="en-US" sz="2000"/>
        </a:p>
      </dgm:t>
    </dgm:pt>
    <dgm:pt modelId="{054B94C7-B172-4655-8534-00E73347C5A1}" type="sibTrans" cxnId="{107FA661-2E4F-48D2-A273-5460A1F25268}">
      <dgm:prSet/>
      <dgm:spPr/>
      <dgm:t>
        <a:bodyPr/>
        <a:lstStyle/>
        <a:p>
          <a:endParaRPr lang="en-US" sz="2000"/>
        </a:p>
      </dgm:t>
    </dgm:pt>
    <dgm:pt modelId="{27637CDC-C271-439B-B892-C14AC05DA97C}">
      <dgm:prSet phldrT="[Text]" custT="1"/>
      <dgm:spPr/>
      <dgm:t>
        <a:bodyPr/>
        <a:lstStyle/>
        <a:p>
          <a:r>
            <a:rPr lang="en-US" sz="2000" dirty="0" smtClean="0"/>
            <a:t>A document may have one or more Fields.</a:t>
          </a:r>
          <a:endParaRPr lang="en-US" sz="2000" dirty="0"/>
        </a:p>
      </dgm:t>
    </dgm:pt>
    <dgm:pt modelId="{B293FD47-C89D-47AA-B16E-5D249EE98875}" type="parTrans" cxnId="{488CB182-367A-4125-942B-7D5AFDB7822F}">
      <dgm:prSet/>
      <dgm:spPr/>
      <dgm:t>
        <a:bodyPr/>
        <a:lstStyle/>
        <a:p>
          <a:endParaRPr lang="en-US" sz="2000"/>
        </a:p>
      </dgm:t>
    </dgm:pt>
    <dgm:pt modelId="{552AA708-B114-4AD0-9733-29CC2FBFB9E8}" type="sibTrans" cxnId="{488CB182-367A-4125-942B-7D5AFDB7822F}">
      <dgm:prSet/>
      <dgm:spPr/>
      <dgm:t>
        <a:bodyPr/>
        <a:lstStyle/>
        <a:p>
          <a:endParaRPr lang="en-US" sz="2000"/>
        </a:p>
      </dgm:t>
    </dgm:pt>
    <dgm:pt modelId="{C4A8109D-BF92-46F8-9F1A-F57AE3229759}">
      <dgm:prSet phldrT="[Text]" custT="1"/>
      <dgm:spPr/>
      <dgm:t>
        <a:bodyPr/>
        <a:lstStyle/>
        <a:p>
          <a:r>
            <a:rPr lang="en-US" sz="2000" dirty="0" smtClean="0"/>
            <a:t>MongoDB indexes function much like their RDBMS counterparts.</a:t>
          </a:r>
          <a:endParaRPr lang="en-US" sz="2000" dirty="0"/>
        </a:p>
      </dgm:t>
    </dgm:pt>
    <dgm:pt modelId="{319EE28B-0845-484D-9E82-77DF87626F0C}" type="parTrans" cxnId="{7AB17445-6888-467F-AF2E-905D9EAB2040}">
      <dgm:prSet/>
      <dgm:spPr/>
      <dgm:t>
        <a:bodyPr/>
        <a:lstStyle/>
        <a:p>
          <a:endParaRPr lang="en-US" sz="2000"/>
        </a:p>
      </dgm:t>
    </dgm:pt>
    <dgm:pt modelId="{55A59B96-1850-4DB2-A94B-ED659C58BA8C}" type="sibTrans" cxnId="{7AB17445-6888-467F-AF2E-905D9EAB2040}">
      <dgm:prSet/>
      <dgm:spPr/>
      <dgm:t>
        <a:bodyPr/>
        <a:lstStyle/>
        <a:p>
          <a:endParaRPr lang="en-US" sz="2000"/>
        </a:p>
      </dgm:t>
    </dgm:pt>
    <dgm:pt modelId="{E9B3C634-8D3A-46E7-8CC0-BB5073A01E04}" type="pres">
      <dgm:prSet presAssocID="{29429F76-896C-48F3-BE20-D24D5B5BD218}" presName="linear" presStyleCnt="0">
        <dgm:presLayoutVars>
          <dgm:animLvl val="lvl"/>
          <dgm:resizeHandles val="exact"/>
        </dgm:presLayoutVars>
      </dgm:prSet>
      <dgm:spPr/>
      <dgm:t>
        <a:bodyPr/>
        <a:lstStyle/>
        <a:p>
          <a:endParaRPr lang="en-US"/>
        </a:p>
      </dgm:t>
    </dgm:pt>
    <dgm:pt modelId="{93792A5D-39F0-41D5-ADA5-5AFFCDCF39FC}" type="pres">
      <dgm:prSet presAssocID="{7105D2C7-557B-4DDE-9F9F-418238EEFEB8}" presName="parentText" presStyleLbl="node1" presStyleIdx="0" presStyleCnt="5">
        <dgm:presLayoutVars>
          <dgm:chMax val="0"/>
          <dgm:bulletEnabled val="1"/>
        </dgm:presLayoutVars>
      </dgm:prSet>
      <dgm:spPr/>
      <dgm:t>
        <a:bodyPr/>
        <a:lstStyle/>
        <a:p>
          <a:endParaRPr lang="en-US"/>
        </a:p>
      </dgm:t>
    </dgm:pt>
    <dgm:pt modelId="{AC83B4DB-2BBA-4458-A8E2-AF204F235510}" type="pres">
      <dgm:prSet presAssocID="{319DBB67-1A0A-4F9B-97B8-18013B05C4F6}" presName="spacer" presStyleCnt="0"/>
      <dgm:spPr/>
    </dgm:pt>
    <dgm:pt modelId="{245342B3-01C7-4E90-A8AB-4B33AF7EC35E}" type="pres">
      <dgm:prSet presAssocID="{C681D40B-5E62-411E-B2EE-2A60982FB3B3}" presName="parentText" presStyleLbl="node1" presStyleIdx="1" presStyleCnt="5">
        <dgm:presLayoutVars>
          <dgm:chMax val="0"/>
          <dgm:bulletEnabled val="1"/>
        </dgm:presLayoutVars>
      </dgm:prSet>
      <dgm:spPr/>
      <dgm:t>
        <a:bodyPr/>
        <a:lstStyle/>
        <a:p>
          <a:endParaRPr lang="en-US"/>
        </a:p>
      </dgm:t>
    </dgm:pt>
    <dgm:pt modelId="{8B5A23FD-1A83-4B9B-BD16-8B92E00B0411}" type="pres">
      <dgm:prSet presAssocID="{2839893F-8BD8-4BB9-97A0-D4C0D86072BE}" presName="spacer" presStyleCnt="0"/>
      <dgm:spPr/>
    </dgm:pt>
    <dgm:pt modelId="{58786B89-2FF1-4A88-AB65-6F76754043F9}" type="pres">
      <dgm:prSet presAssocID="{F35A6ED0-C40D-47BA-875B-0EC3238CFF42}" presName="parentText" presStyleLbl="node1" presStyleIdx="2" presStyleCnt="5">
        <dgm:presLayoutVars>
          <dgm:chMax val="0"/>
          <dgm:bulletEnabled val="1"/>
        </dgm:presLayoutVars>
      </dgm:prSet>
      <dgm:spPr/>
      <dgm:t>
        <a:bodyPr/>
        <a:lstStyle/>
        <a:p>
          <a:endParaRPr lang="en-US"/>
        </a:p>
      </dgm:t>
    </dgm:pt>
    <dgm:pt modelId="{614BCFCB-36CD-48B1-AB55-C3E4F5B6507C}" type="pres">
      <dgm:prSet presAssocID="{054B94C7-B172-4655-8534-00E73347C5A1}" presName="spacer" presStyleCnt="0"/>
      <dgm:spPr/>
    </dgm:pt>
    <dgm:pt modelId="{B29AFDCC-0C36-4EDB-A7FA-67B3BEA31637}" type="pres">
      <dgm:prSet presAssocID="{27637CDC-C271-439B-B892-C14AC05DA97C}" presName="parentText" presStyleLbl="node1" presStyleIdx="3" presStyleCnt="5">
        <dgm:presLayoutVars>
          <dgm:chMax val="0"/>
          <dgm:bulletEnabled val="1"/>
        </dgm:presLayoutVars>
      </dgm:prSet>
      <dgm:spPr/>
      <dgm:t>
        <a:bodyPr/>
        <a:lstStyle/>
        <a:p>
          <a:endParaRPr lang="en-US"/>
        </a:p>
      </dgm:t>
    </dgm:pt>
    <dgm:pt modelId="{5B43903F-A146-44D9-B13C-59A72124010B}" type="pres">
      <dgm:prSet presAssocID="{552AA708-B114-4AD0-9733-29CC2FBFB9E8}" presName="spacer" presStyleCnt="0"/>
      <dgm:spPr/>
    </dgm:pt>
    <dgm:pt modelId="{D2594521-BCF2-4DF7-BDCF-7037AAAE58CB}" type="pres">
      <dgm:prSet presAssocID="{C4A8109D-BF92-46F8-9F1A-F57AE3229759}" presName="parentText" presStyleLbl="node1" presStyleIdx="4" presStyleCnt="5">
        <dgm:presLayoutVars>
          <dgm:chMax val="0"/>
          <dgm:bulletEnabled val="1"/>
        </dgm:presLayoutVars>
      </dgm:prSet>
      <dgm:spPr/>
      <dgm:t>
        <a:bodyPr/>
        <a:lstStyle/>
        <a:p>
          <a:endParaRPr lang="en-US"/>
        </a:p>
      </dgm:t>
    </dgm:pt>
  </dgm:ptLst>
  <dgm:cxnLst>
    <dgm:cxn modelId="{85BDC567-978C-477E-99F7-EA300EB8C2D6}" type="presOf" srcId="{F35A6ED0-C40D-47BA-875B-0EC3238CFF42}" destId="{58786B89-2FF1-4A88-AB65-6F76754043F9}" srcOrd="0" destOrd="0" presId="urn:microsoft.com/office/officeart/2005/8/layout/vList2"/>
    <dgm:cxn modelId="{826498AF-7FFE-4128-B741-050BA1A5E4C4}" type="presOf" srcId="{29429F76-896C-48F3-BE20-D24D5B5BD218}" destId="{E9B3C634-8D3A-46E7-8CC0-BB5073A01E04}" srcOrd="0" destOrd="0" presId="urn:microsoft.com/office/officeart/2005/8/layout/vList2"/>
    <dgm:cxn modelId="{107FA661-2E4F-48D2-A273-5460A1F25268}" srcId="{29429F76-896C-48F3-BE20-D24D5B5BD218}" destId="{F35A6ED0-C40D-47BA-875B-0EC3238CFF42}" srcOrd="2" destOrd="0" parTransId="{9C346E95-A9AE-401A-95D6-447DBF4542A3}" sibTransId="{054B94C7-B172-4655-8534-00E73347C5A1}"/>
    <dgm:cxn modelId="{488CB182-367A-4125-942B-7D5AFDB7822F}" srcId="{29429F76-896C-48F3-BE20-D24D5B5BD218}" destId="{27637CDC-C271-439B-B892-C14AC05DA97C}" srcOrd="3" destOrd="0" parTransId="{B293FD47-C89D-47AA-B16E-5D249EE98875}" sibTransId="{552AA708-B114-4AD0-9733-29CC2FBFB9E8}"/>
    <dgm:cxn modelId="{74A0A829-0E44-455D-A0F5-DDAF1147A95F}" type="presOf" srcId="{C4A8109D-BF92-46F8-9F1A-F57AE3229759}" destId="{D2594521-BCF2-4DF7-BDCF-7037AAAE58CB}" srcOrd="0" destOrd="0" presId="urn:microsoft.com/office/officeart/2005/8/layout/vList2"/>
    <dgm:cxn modelId="{5C31A825-10F9-448F-9788-34A406930A4F}" srcId="{29429F76-896C-48F3-BE20-D24D5B5BD218}" destId="{C681D40B-5E62-411E-B2EE-2A60982FB3B3}" srcOrd="1" destOrd="0" parTransId="{F0845669-6DCB-41C9-AAC4-19370943B0A3}" sibTransId="{2839893F-8BD8-4BB9-97A0-D4C0D86072BE}"/>
    <dgm:cxn modelId="{F284CBD1-B743-4E6F-8B91-DBABA7683F31}" type="presOf" srcId="{C681D40B-5E62-411E-B2EE-2A60982FB3B3}" destId="{245342B3-01C7-4E90-A8AB-4B33AF7EC35E}" srcOrd="0" destOrd="0" presId="urn:microsoft.com/office/officeart/2005/8/layout/vList2"/>
    <dgm:cxn modelId="{84D1DAAE-FDA6-422D-A8C1-B7E262814130}" type="presOf" srcId="{7105D2C7-557B-4DDE-9F9F-418238EEFEB8}" destId="{93792A5D-39F0-41D5-ADA5-5AFFCDCF39FC}" srcOrd="0" destOrd="0" presId="urn:microsoft.com/office/officeart/2005/8/layout/vList2"/>
    <dgm:cxn modelId="{8D481E77-CE47-4D94-8C72-0FAB2C902F03}" type="presOf" srcId="{27637CDC-C271-439B-B892-C14AC05DA97C}" destId="{B29AFDCC-0C36-4EDB-A7FA-67B3BEA31637}" srcOrd="0" destOrd="0" presId="urn:microsoft.com/office/officeart/2005/8/layout/vList2"/>
    <dgm:cxn modelId="{7AB17445-6888-467F-AF2E-905D9EAB2040}" srcId="{29429F76-896C-48F3-BE20-D24D5B5BD218}" destId="{C4A8109D-BF92-46F8-9F1A-F57AE3229759}" srcOrd="4" destOrd="0" parTransId="{319EE28B-0845-484D-9E82-77DF87626F0C}" sibTransId="{55A59B96-1850-4DB2-A94B-ED659C58BA8C}"/>
    <dgm:cxn modelId="{5F6230A2-F825-4052-A6BD-05F961CA928D}" srcId="{29429F76-896C-48F3-BE20-D24D5B5BD218}" destId="{7105D2C7-557B-4DDE-9F9F-418238EEFEB8}" srcOrd="0" destOrd="0" parTransId="{2B6C7E99-A8DA-4B88-9D5D-B614ABFBC182}" sibTransId="{319DBB67-1A0A-4F9B-97B8-18013B05C4F6}"/>
    <dgm:cxn modelId="{0A13A2F8-AF27-4C28-8AD8-D35F20DC463A}" type="presParOf" srcId="{E9B3C634-8D3A-46E7-8CC0-BB5073A01E04}" destId="{93792A5D-39F0-41D5-ADA5-5AFFCDCF39FC}" srcOrd="0" destOrd="0" presId="urn:microsoft.com/office/officeart/2005/8/layout/vList2"/>
    <dgm:cxn modelId="{072485A4-69B9-46F8-9BC3-1B97D9D0D6BD}" type="presParOf" srcId="{E9B3C634-8D3A-46E7-8CC0-BB5073A01E04}" destId="{AC83B4DB-2BBA-4458-A8E2-AF204F235510}" srcOrd="1" destOrd="0" presId="urn:microsoft.com/office/officeart/2005/8/layout/vList2"/>
    <dgm:cxn modelId="{565EE2BD-394E-4EAE-B553-3D678275ABA5}" type="presParOf" srcId="{E9B3C634-8D3A-46E7-8CC0-BB5073A01E04}" destId="{245342B3-01C7-4E90-A8AB-4B33AF7EC35E}" srcOrd="2" destOrd="0" presId="urn:microsoft.com/office/officeart/2005/8/layout/vList2"/>
    <dgm:cxn modelId="{6F2A843D-591F-43F4-B039-2B735483C516}" type="presParOf" srcId="{E9B3C634-8D3A-46E7-8CC0-BB5073A01E04}" destId="{8B5A23FD-1A83-4B9B-BD16-8B92E00B0411}" srcOrd="3" destOrd="0" presId="urn:microsoft.com/office/officeart/2005/8/layout/vList2"/>
    <dgm:cxn modelId="{35DC755D-621B-443D-90AC-91D1835B79CD}" type="presParOf" srcId="{E9B3C634-8D3A-46E7-8CC0-BB5073A01E04}" destId="{58786B89-2FF1-4A88-AB65-6F76754043F9}" srcOrd="4" destOrd="0" presId="urn:microsoft.com/office/officeart/2005/8/layout/vList2"/>
    <dgm:cxn modelId="{44CD90DB-3F74-4888-932D-CD47D06D6C92}" type="presParOf" srcId="{E9B3C634-8D3A-46E7-8CC0-BB5073A01E04}" destId="{614BCFCB-36CD-48B1-AB55-C3E4F5B6507C}" srcOrd="5" destOrd="0" presId="urn:microsoft.com/office/officeart/2005/8/layout/vList2"/>
    <dgm:cxn modelId="{457D95FD-613C-4215-8F1A-346756C2B5AC}" type="presParOf" srcId="{E9B3C634-8D3A-46E7-8CC0-BB5073A01E04}" destId="{B29AFDCC-0C36-4EDB-A7FA-67B3BEA31637}" srcOrd="6" destOrd="0" presId="urn:microsoft.com/office/officeart/2005/8/layout/vList2"/>
    <dgm:cxn modelId="{F8B4A224-585E-470B-B011-300DD2C0C34F}" type="presParOf" srcId="{E9B3C634-8D3A-46E7-8CC0-BB5073A01E04}" destId="{5B43903F-A146-44D9-B13C-59A72124010B}" srcOrd="7" destOrd="0" presId="urn:microsoft.com/office/officeart/2005/8/layout/vList2"/>
    <dgm:cxn modelId="{5B7408CB-74CC-4AD8-A8CC-4F12E20CBF7B}" type="presParOf" srcId="{E9B3C634-8D3A-46E7-8CC0-BB5073A01E04}" destId="{D2594521-BCF2-4DF7-BDCF-7037AAAE58CB}"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369ABA6-D999-44B4-AD62-E5463CB11FDE}" type="doc">
      <dgm:prSet loTypeId="urn:microsoft.com/office/officeart/2005/8/layout/process1" loCatId="process" qsTypeId="urn:microsoft.com/office/officeart/2005/8/quickstyle/simple1" qsCatId="simple" csTypeId="urn:microsoft.com/office/officeart/2005/8/colors/accent5_2" csCatId="accent5" phldr="1"/>
      <dgm:spPr/>
      <dgm:t>
        <a:bodyPr/>
        <a:lstStyle/>
        <a:p>
          <a:endParaRPr lang="en-US"/>
        </a:p>
      </dgm:t>
    </dgm:pt>
    <dgm:pt modelId="{FDD539A0-809A-41A9-B3A8-220D279CE579}">
      <dgm:prSet phldrT="[Text]" custT="1"/>
      <dgm:spPr/>
      <dgm:t>
        <a:bodyPr/>
        <a:lstStyle/>
        <a:p>
          <a:r>
            <a:rPr lang="en-US" sz="2000" b="1" dirty="0" smtClean="0"/>
            <a:t>mongod</a:t>
          </a:r>
          <a:endParaRPr lang="en-US" sz="2000" b="1" dirty="0"/>
        </a:p>
      </dgm:t>
    </dgm:pt>
    <dgm:pt modelId="{B666BD14-FB12-4687-8ECB-B80B4A1218BE}" type="parTrans" cxnId="{4F68E455-6576-4392-B57E-4CE8C3499649}">
      <dgm:prSet/>
      <dgm:spPr/>
      <dgm:t>
        <a:bodyPr/>
        <a:lstStyle/>
        <a:p>
          <a:endParaRPr lang="en-US" sz="2000" b="1"/>
        </a:p>
      </dgm:t>
    </dgm:pt>
    <dgm:pt modelId="{7FA2EAC5-CC3B-4BC9-830B-77664168DE13}" type="sibTrans" cxnId="{4F68E455-6576-4392-B57E-4CE8C3499649}">
      <dgm:prSet custT="1"/>
      <dgm:spPr/>
      <dgm:t>
        <a:bodyPr/>
        <a:lstStyle/>
        <a:p>
          <a:endParaRPr lang="en-US" sz="2000" b="1" dirty="0"/>
        </a:p>
      </dgm:t>
    </dgm:pt>
    <dgm:pt modelId="{4D9C8126-19FC-4F6F-9D1D-A71B21988E5C}">
      <dgm:prSet phldrT="[Text]" custT="1"/>
      <dgm:spPr/>
      <dgm:t>
        <a:bodyPr/>
        <a:lstStyle/>
        <a:p>
          <a:r>
            <a:rPr lang="en-US" sz="2000" b="1" dirty="0" smtClean="0"/>
            <a:t>server</a:t>
          </a:r>
          <a:endParaRPr lang="en-US" sz="2000" b="1" dirty="0"/>
        </a:p>
      </dgm:t>
    </dgm:pt>
    <dgm:pt modelId="{73BB53B0-C79B-412A-B7A2-9D33E30AFBDC}" type="parTrans" cxnId="{CEBE73FA-B8E2-4C54-BA35-F38E4F2285FF}">
      <dgm:prSet/>
      <dgm:spPr/>
      <dgm:t>
        <a:bodyPr/>
        <a:lstStyle/>
        <a:p>
          <a:endParaRPr lang="en-US" sz="2000" b="1"/>
        </a:p>
      </dgm:t>
    </dgm:pt>
    <dgm:pt modelId="{480B116A-8F86-474A-845B-BD66C3CA09ED}" type="sibTrans" cxnId="{CEBE73FA-B8E2-4C54-BA35-F38E4F2285FF}">
      <dgm:prSet/>
      <dgm:spPr/>
      <dgm:t>
        <a:bodyPr/>
        <a:lstStyle/>
        <a:p>
          <a:endParaRPr lang="en-US" sz="2000" b="1"/>
        </a:p>
      </dgm:t>
    </dgm:pt>
    <dgm:pt modelId="{2E3EDC0E-9384-4596-B74A-318B0FA9226E}" type="pres">
      <dgm:prSet presAssocID="{4369ABA6-D999-44B4-AD62-E5463CB11FDE}" presName="Name0" presStyleCnt="0">
        <dgm:presLayoutVars>
          <dgm:dir/>
          <dgm:resizeHandles val="exact"/>
        </dgm:presLayoutVars>
      </dgm:prSet>
      <dgm:spPr/>
      <dgm:t>
        <a:bodyPr/>
        <a:lstStyle/>
        <a:p>
          <a:endParaRPr lang="en-US"/>
        </a:p>
      </dgm:t>
    </dgm:pt>
    <dgm:pt modelId="{63CFA066-910D-4BFA-B063-07F6E799F08B}" type="pres">
      <dgm:prSet presAssocID="{FDD539A0-809A-41A9-B3A8-220D279CE579}" presName="node" presStyleLbl="node1" presStyleIdx="0" presStyleCnt="2">
        <dgm:presLayoutVars>
          <dgm:bulletEnabled val="1"/>
        </dgm:presLayoutVars>
      </dgm:prSet>
      <dgm:spPr/>
      <dgm:t>
        <a:bodyPr/>
        <a:lstStyle/>
        <a:p>
          <a:endParaRPr lang="en-US"/>
        </a:p>
      </dgm:t>
    </dgm:pt>
    <dgm:pt modelId="{3D952A01-C4F5-426F-8269-3CA9732F2A6A}" type="pres">
      <dgm:prSet presAssocID="{7FA2EAC5-CC3B-4BC9-830B-77664168DE13}" presName="sibTrans" presStyleLbl="sibTrans2D1" presStyleIdx="0" presStyleCnt="1"/>
      <dgm:spPr/>
      <dgm:t>
        <a:bodyPr/>
        <a:lstStyle/>
        <a:p>
          <a:endParaRPr lang="en-US"/>
        </a:p>
      </dgm:t>
    </dgm:pt>
    <dgm:pt modelId="{817DEDFE-FBFB-491E-BE7A-FFE4EE6C1E01}" type="pres">
      <dgm:prSet presAssocID="{7FA2EAC5-CC3B-4BC9-830B-77664168DE13}" presName="connectorText" presStyleLbl="sibTrans2D1" presStyleIdx="0" presStyleCnt="1"/>
      <dgm:spPr/>
      <dgm:t>
        <a:bodyPr/>
        <a:lstStyle/>
        <a:p>
          <a:endParaRPr lang="en-US"/>
        </a:p>
      </dgm:t>
    </dgm:pt>
    <dgm:pt modelId="{33895960-6B90-4D69-8D75-623D8491FE41}" type="pres">
      <dgm:prSet presAssocID="{4D9C8126-19FC-4F6F-9D1D-A71B21988E5C}" presName="node" presStyleLbl="node1" presStyleIdx="1" presStyleCnt="2">
        <dgm:presLayoutVars>
          <dgm:bulletEnabled val="1"/>
        </dgm:presLayoutVars>
      </dgm:prSet>
      <dgm:spPr/>
      <dgm:t>
        <a:bodyPr/>
        <a:lstStyle/>
        <a:p>
          <a:endParaRPr lang="en-US"/>
        </a:p>
      </dgm:t>
    </dgm:pt>
  </dgm:ptLst>
  <dgm:cxnLst>
    <dgm:cxn modelId="{84CDB549-D7C7-4D8B-B43F-95022BBB1B5C}" type="presOf" srcId="{FDD539A0-809A-41A9-B3A8-220D279CE579}" destId="{63CFA066-910D-4BFA-B063-07F6E799F08B}" srcOrd="0" destOrd="0" presId="urn:microsoft.com/office/officeart/2005/8/layout/process1"/>
    <dgm:cxn modelId="{37035770-1CD5-4134-8CEE-85D2CC3B38C2}" type="presOf" srcId="{4D9C8126-19FC-4F6F-9D1D-A71B21988E5C}" destId="{33895960-6B90-4D69-8D75-623D8491FE41}" srcOrd="0" destOrd="0" presId="urn:microsoft.com/office/officeart/2005/8/layout/process1"/>
    <dgm:cxn modelId="{B4C230A0-344B-4103-A071-B0337BADA1CD}" type="presOf" srcId="{7FA2EAC5-CC3B-4BC9-830B-77664168DE13}" destId="{817DEDFE-FBFB-491E-BE7A-FFE4EE6C1E01}" srcOrd="1" destOrd="0" presId="urn:microsoft.com/office/officeart/2005/8/layout/process1"/>
    <dgm:cxn modelId="{CEBE73FA-B8E2-4C54-BA35-F38E4F2285FF}" srcId="{4369ABA6-D999-44B4-AD62-E5463CB11FDE}" destId="{4D9C8126-19FC-4F6F-9D1D-A71B21988E5C}" srcOrd="1" destOrd="0" parTransId="{73BB53B0-C79B-412A-B7A2-9D33E30AFBDC}" sibTransId="{480B116A-8F86-474A-845B-BD66C3CA09ED}"/>
    <dgm:cxn modelId="{F9AA0C66-76FF-4664-8935-85B0EA0432EE}" type="presOf" srcId="{4369ABA6-D999-44B4-AD62-E5463CB11FDE}" destId="{2E3EDC0E-9384-4596-B74A-318B0FA9226E}" srcOrd="0" destOrd="0" presId="urn:microsoft.com/office/officeart/2005/8/layout/process1"/>
    <dgm:cxn modelId="{4F68E455-6576-4392-B57E-4CE8C3499649}" srcId="{4369ABA6-D999-44B4-AD62-E5463CB11FDE}" destId="{FDD539A0-809A-41A9-B3A8-220D279CE579}" srcOrd="0" destOrd="0" parTransId="{B666BD14-FB12-4687-8ECB-B80B4A1218BE}" sibTransId="{7FA2EAC5-CC3B-4BC9-830B-77664168DE13}"/>
    <dgm:cxn modelId="{F5A5B142-C969-47DA-922E-9C1DC6D318DB}" type="presOf" srcId="{7FA2EAC5-CC3B-4BC9-830B-77664168DE13}" destId="{3D952A01-C4F5-426F-8269-3CA9732F2A6A}" srcOrd="0" destOrd="0" presId="urn:microsoft.com/office/officeart/2005/8/layout/process1"/>
    <dgm:cxn modelId="{454C2446-6F3F-48E2-BDE2-054AFD2235C8}" type="presParOf" srcId="{2E3EDC0E-9384-4596-B74A-318B0FA9226E}" destId="{63CFA066-910D-4BFA-B063-07F6E799F08B}" srcOrd="0" destOrd="0" presId="urn:microsoft.com/office/officeart/2005/8/layout/process1"/>
    <dgm:cxn modelId="{9ABB1ACB-D88D-4739-B029-A785D1AF8D51}" type="presParOf" srcId="{2E3EDC0E-9384-4596-B74A-318B0FA9226E}" destId="{3D952A01-C4F5-426F-8269-3CA9732F2A6A}" srcOrd="1" destOrd="0" presId="urn:microsoft.com/office/officeart/2005/8/layout/process1"/>
    <dgm:cxn modelId="{9FC9A381-EC2C-4956-B7D8-68335D415713}" type="presParOf" srcId="{3D952A01-C4F5-426F-8269-3CA9732F2A6A}" destId="{817DEDFE-FBFB-491E-BE7A-FFE4EE6C1E01}" srcOrd="0" destOrd="0" presId="urn:microsoft.com/office/officeart/2005/8/layout/process1"/>
    <dgm:cxn modelId="{3030BE78-10CB-42F3-9203-B567E4977716}" type="presParOf" srcId="{2E3EDC0E-9384-4596-B74A-318B0FA9226E}" destId="{33895960-6B90-4D69-8D75-623D8491FE41}" srcOrd="2"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369ABA6-D999-44B4-AD62-E5463CB11FDE}" type="doc">
      <dgm:prSet loTypeId="urn:microsoft.com/office/officeart/2005/8/layout/process1" loCatId="process" qsTypeId="urn:microsoft.com/office/officeart/2005/8/quickstyle/simple1" qsCatId="simple" csTypeId="urn:microsoft.com/office/officeart/2005/8/colors/accent5_2" csCatId="accent5" phldr="1"/>
      <dgm:spPr/>
      <dgm:t>
        <a:bodyPr/>
        <a:lstStyle/>
        <a:p>
          <a:endParaRPr lang="en-US"/>
        </a:p>
      </dgm:t>
    </dgm:pt>
    <dgm:pt modelId="{FDD539A0-809A-41A9-B3A8-220D279CE579}">
      <dgm:prSet phldrT="[Text]" custT="1"/>
      <dgm:spPr/>
      <dgm:t>
        <a:bodyPr/>
        <a:lstStyle/>
        <a:p>
          <a:r>
            <a:rPr lang="en-US" sz="2000" b="1" dirty="0" smtClean="0"/>
            <a:t>mongo</a:t>
          </a:r>
          <a:endParaRPr lang="en-US" sz="2000" b="1" dirty="0"/>
        </a:p>
      </dgm:t>
    </dgm:pt>
    <dgm:pt modelId="{B666BD14-FB12-4687-8ECB-B80B4A1218BE}" type="parTrans" cxnId="{4F68E455-6576-4392-B57E-4CE8C3499649}">
      <dgm:prSet/>
      <dgm:spPr/>
      <dgm:t>
        <a:bodyPr/>
        <a:lstStyle/>
        <a:p>
          <a:endParaRPr lang="en-US" sz="2000" b="1"/>
        </a:p>
      </dgm:t>
    </dgm:pt>
    <dgm:pt modelId="{7FA2EAC5-CC3B-4BC9-830B-77664168DE13}" type="sibTrans" cxnId="{4F68E455-6576-4392-B57E-4CE8C3499649}">
      <dgm:prSet custT="1"/>
      <dgm:spPr/>
      <dgm:t>
        <a:bodyPr/>
        <a:lstStyle/>
        <a:p>
          <a:endParaRPr lang="en-US" sz="2000" b="1" dirty="0"/>
        </a:p>
      </dgm:t>
    </dgm:pt>
    <dgm:pt modelId="{4D9C8126-19FC-4F6F-9D1D-A71B21988E5C}">
      <dgm:prSet phldrT="[Text]" custT="1"/>
      <dgm:spPr/>
      <dgm:t>
        <a:bodyPr/>
        <a:lstStyle/>
        <a:p>
          <a:r>
            <a:rPr lang="en-US" sz="2000" b="1" dirty="0" smtClean="0"/>
            <a:t>client </a:t>
          </a:r>
          <a:endParaRPr lang="en-US" sz="2000" b="1" dirty="0"/>
        </a:p>
      </dgm:t>
    </dgm:pt>
    <dgm:pt modelId="{73BB53B0-C79B-412A-B7A2-9D33E30AFBDC}" type="parTrans" cxnId="{CEBE73FA-B8E2-4C54-BA35-F38E4F2285FF}">
      <dgm:prSet/>
      <dgm:spPr/>
      <dgm:t>
        <a:bodyPr/>
        <a:lstStyle/>
        <a:p>
          <a:endParaRPr lang="en-US" sz="2000" b="1"/>
        </a:p>
      </dgm:t>
    </dgm:pt>
    <dgm:pt modelId="{480B116A-8F86-474A-845B-BD66C3CA09ED}" type="sibTrans" cxnId="{CEBE73FA-B8E2-4C54-BA35-F38E4F2285FF}">
      <dgm:prSet/>
      <dgm:spPr/>
      <dgm:t>
        <a:bodyPr/>
        <a:lstStyle/>
        <a:p>
          <a:endParaRPr lang="en-US" sz="2000" b="1"/>
        </a:p>
      </dgm:t>
    </dgm:pt>
    <dgm:pt modelId="{2E3EDC0E-9384-4596-B74A-318B0FA9226E}" type="pres">
      <dgm:prSet presAssocID="{4369ABA6-D999-44B4-AD62-E5463CB11FDE}" presName="Name0" presStyleCnt="0">
        <dgm:presLayoutVars>
          <dgm:dir/>
          <dgm:resizeHandles val="exact"/>
        </dgm:presLayoutVars>
      </dgm:prSet>
      <dgm:spPr/>
      <dgm:t>
        <a:bodyPr/>
        <a:lstStyle/>
        <a:p>
          <a:endParaRPr lang="en-US"/>
        </a:p>
      </dgm:t>
    </dgm:pt>
    <dgm:pt modelId="{63CFA066-910D-4BFA-B063-07F6E799F08B}" type="pres">
      <dgm:prSet presAssocID="{FDD539A0-809A-41A9-B3A8-220D279CE579}" presName="node" presStyleLbl="node1" presStyleIdx="0" presStyleCnt="2">
        <dgm:presLayoutVars>
          <dgm:bulletEnabled val="1"/>
        </dgm:presLayoutVars>
      </dgm:prSet>
      <dgm:spPr/>
      <dgm:t>
        <a:bodyPr/>
        <a:lstStyle/>
        <a:p>
          <a:endParaRPr lang="en-US"/>
        </a:p>
      </dgm:t>
    </dgm:pt>
    <dgm:pt modelId="{3D952A01-C4F5-426F-8269-3CA9732F2A6A}" type="pres">
      <dgm:prSet presAssocID="{7FA2EAC5-CC3B-4BC9-830B-77664168DE13}" presName="sibTrans" presStyleLbl="sibTrans2D1" presStyleIdx="0" presStyleCnt="1"/>
      <dgm:spPr/>
      <dgm:t>
        <a:bodyPr/>
        <a:lstStyle/>
        <a:p>
          <a:endParaRPr lang="en-US"/>
        </a:p>
      </dgm:t>
    </dgm:pt>
    <dgm:pt modelId="{817DEDFE-FBFB-491E-BE7A-FFE4EE6C1E01}" type="pres">
      <dgm:prSet presAssocID="{7FA2EAC5-CC3B-4BC9-830B-77664168DE13}" presName="connectorText" presStyleLbl="sibTrans2D1" presStyleIdx="0" presStyleCnt="1"/>
      <dgm:spPr/>
      <dgm:t>
        <a:bodyPr/>
        <a:lstStyle/>
        <a:p>
          <a:endParaRPr lang="en-US"/>
        </a:p>
      </dgm:t>
    </dgm:pt>
    <dgm:pt modelId="{33895960-6B90-4D69-8D75-623D8491FE41}" type="pres">
      <dgm:prSet presAssocID="{4D9C8126-19FC-4F6F-9D1D-A71B21988E5C}" presName="node" presStyleLbl="node1" presStyleIdx="1" presStyleCnt="2">
        <dgm:presLayoutVars>
          <dgm:bulletEnabled val="1"/>
        </dgm:presLayoutVars>
      </dgm:prSet>
      <dgm:spPr/>
      <dgm:t>
        <a:bodyPr/>
        <a:lstStyle/>
        <a:p>
          <a:endParaRPr lang="en-US"/>
        </a:p>
      </dgm:t>
    </dgm:pt>
  </dgm:ptLst>
  <dgm:cxnLst>
    <dgm:cxn modelId="{CEBE73FA-B8E2-4C54-BA35-F38E4F2285FF}" srcId="{4369ABA6-D999-44B4-AD62-E5463CB11FDE}" destId="{4D9C8126-19FC-4F6F-9D1D-A71B21988E5C}" srcOrd="1" destOrd="0" parTransId="{73BB53B0-C79B-412A-B7A2-9D33E30AFBDC}" sibTransId="{480B116A-8F86-474A-845B-BD66C3CA09ED}"/>
    <dgm:cxn modelId="{B402C104-7465-4CC5-AE86-199E99890DF5}" type="presOf" srcId="{FDD539A0-809A-41A9-B3A8-220D279CE579}" destId="{63CFA066-910D-4BFA-B063-07F6E799F08B}" srcOrd="0" destOrd="0" presId="urn:microsoft.com/office/officeart/2005/8/layout/process1"/>
    <dgm:cxn modelId="{03D47040-C9D9-4D1B-A56F-3ED3EF654F7E}" type="presOf" srcId="{4D9C8126-19FC-4F6F-9D1D-A71B21988E5C}" destId="{33895960-6B90-4D69-8D75-623D8491FE41}" srcOrd="0" destOrd="0" presId="urn:microsoft.com/office/officeart/2005/8/layout/process1"/>
    <dgm:cxn modelId="{D3011973-E0FB-495D-AD12-BAFB453D8661}" type="presOf" srcId="{4369ABA6-D999-44B4-AD62-E5463CB11FDE}" destId="{2E3EDC0E-9384-4596-B74A-318B0FA9226E}" srcOrd="0" destOrd="0" presId="urn:microsoft.com/office/officeart/2005/8/layout/process1"/>
    <dgm:cxn modelId="{F6EDC108-4E44-4497-BC37-A1B4F2792A21}" type="presOf" srcId="{7FA2EAC5-CC3B-4BC9-830B-77664168DE13}" destId="{3D952A01-C4F5-426F-8269-3CA9732F2A6A}" srcOrd="0" destOrd="0" presId="urn:microsoft.com/office/officeart/2005/8/layout/process1"/>
    <dgm:cxn modelId="{4F68E455-6576-4392-B57E-4CE8C3499649}" srcId="{4369ABA6-D999-44B4-AD62-E5463CB11FDE}" destId="{FDD539A0-809A-41A9-B3A8-220D279CE579}" srcOrd="0" destOrd="0" parTransId="{B666BD14-FB12-4687-8ECB-B80B4A1218BE}" sibTransId="{7FA2EAC5-CC3B-4BC9-830B-77664168DE13}"/>
    <dgm:cxn modelId="{19BE7656-6419-4374-836B-1CAB9DA4E9D6}" type="presOf" srcId="{7FA2EAC5-CC3B-4BC9-830B-77664168DE13}" destId="{817DEDFE-FBFB-491E-BE7A-FFE4EE6C1E01}" srcOrd="1" destOrd="0" presId="urn:microsoft.com/office/officeart/2005/8/layout/process1"/>
    <dgm:cxn modelId="{F2F22990-5536-43D9-9861-91209BE9D65A}" type="presParOf" srcId="{2E3EDC0E-9384-4596-B74A-318B0FA9226E}" destId="{63CFA066-910D-4BFA-B063-07F6E799F08B}" srcOrd="0" destOrd="0" presId="urn:microsoft.com/office/officeart/2005/8/layout/process1"/>
    <dgm:cxn modelId="{8D6BC0AC-193B-499A-BDA2-374BBF7AD0D1}" type="presParOf" srcId="{2E3EDC0E-9384-4596-B74A-318B0FA9226E}" destId="{3D952A01-C4F5-426F-8269-3CA9732F2A6A}" srcOrd="1" destOrd="0" presId="urn:microsoft.com/office/officeart/2005/8/layout/process1"/>
    <dgm:cxn modelId="{301B4103-168D-4A39-9B45-A8B877D5C6F2}" type="presParOf" srcId="{3D952A01-C4F5-426F-8269-3CA9732F2A6A}" destId="{817DEDFE-FBFB-491E-BE7A-FFE4EE6C1E01}" srcOrd="0" destOrd="0" presId="urn:microsoft.com/office/officeart/2005/8/layout/process1"/>
    <dgm:cxn modelId="{8675F684-4618-4DA7-9951-957928C091A8}" type="presParOf" srcId="{2E3EDC0E-9384-4596-B74A-318B0FA9226E}" destId="{33895960-6B90-4D69-8D75-623D8491FE41}" srcOrd="2"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39538B-EF2C-47C3-8A08-BF122AC74686}">
      <dsp:nvSpPr>
        <dsp:cNvPr id="0" name=""/>
        <dsp:cNvSpPr/>
      </dsp:nvSpPr>
      <dsp:spPr>
        <a:xfrm>
          <a:off x="3258182" y="1137168"/>
          <a:ext cx="1456791" cy="1456969"/>
        </a:xfrm>
        <a:prstGeom prst="ellipse">
          <a:avLst/>
        </a:prstGeom>
        <a:solidFill>
          <a:schemeClr val="accent5">
            <a:alpha val="50000"/>
            <a:hueOff val="0"/>
            <a:satOff val="0"/>
            <a:lumOff val="0"/>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5C7C0FFE-D901-4BD6-B7D3-0F9BD0D58732}">
      <dsp:nvSpPr>
        <dsp:cNvPr id="0" name=""/>
        <dsp:cNvSpPr/>
      </dsp:nvSpPr>
      <dsp:spPr>
        <a:xfrm>
          <a:off x="3151958" y="0"/>
          <a:ext cx="1669239" cy="89329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1" kern="1200" dirty="0" smtClean="0">
              <a:latin typeface="Arial"/>
              <a:ea typeface="+mn-ea"/>
              <a:cs typeface="+mn-cs"/>
            </a:rPr>
            <a:t>MongoDB</a:t>
          </a:r>
          <a:r>
            <a:rPr lang="en-US" sz="1400" kern="1200" dirty="0" smtClean="0">
              <a:latin typeface="Arial"/>
              <a:ea typeface="+mn-ea"/>
              <a:cs typeface="+mn-cs"/>
            </a:rPr>
            <a:t> (from </a:t>
          </a:r>
          <a:r>
            <a:rPr lang="en-US" sz="1400" i="1" kern="1200" dirty="0" smtClean="0">
              <a:latin typeface="Arial"/>
              <a:ea typeface="+mn-ea"/>
              <a:cs typeface="+mn-cs"/>
            </a:rPr>
            <a:t>humongous</a:t>
          </a:r>
          <a:r>
            <a:rPr lang="en-US" sz="1400" kern="1200" dirty="0" smtClean="0">
              <a:latin typeface="Arial"/>
              <a:ea typeface="+mn-ea"/>
              <a:cs typeface="+mn-cs"/>
            </a:rPr>
            <a:t>) is a cross-platform document oriented database</a:t>
          </a:r>
          <a:endParaRPr lang="en-US" sz="1400" kern="1200" dirty="0">
            <a:latin typeface="Arial"/>
            <a:ea typeface="+mn-ea"/>
            <a:cs typeface="+mn-cs"/>
          </a:endParaRPr>
        </a:p>
      </dsp:txBody>
      <dsp:txXfrm>
        <a:off x="3151958" y="0"/>
        <a:ext cx="1669239" cy="893298"/>
      </dsp:txXfrm>
    </dsp:sp>
    <dsp:sp modelId="{AFB0ADCE-C9AF-46EA-8626-9DE872D38D85}">
      <dsp:nvSpPr>
        <dsp:cNvPr id="0" name=""/>
        <dsp:cNvSpPr/>
      </dsp:nvSpPr>
      <dsp:spPr>
        <a:xfrm>
          <a:off x="3685508" y="1342627"/>
          <a:ext cx="1456791" cy="1456969"/>
        </a:xfrm>
        <a:prstGeom prst="ellipse">
          <a:avLst/>
        </a:prstGeom>
        <a:solidFill>
          <a:schemeClr val="accent5">
            <a:alpha val="50000"/>
            <a:hueOff val="-195969"/>
            <a:satOff val="2909"/>
            <a:lumOff val="-1470"/>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3A9BA6AE-D1B4-4ED4-9814-B213F06686D1}">
      <dsp:nvSpPr>
        <dsp:cNvPr id="0" name=""/>
        <dsp:cNvSpPr/>
      </dsp:nvSpPr>
      <dsp:spPr>
        <a:xfrm>
          <a:off x="5321970" y="848633"/>
          <a:ext cx="1578190" cy="98262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Schema-free document database</a:t>
          </a:r>
          <a:endParaRPr lang="en-US" sz="1400" kern="1200" dirty="0">
            <a:latin typeface="Arial"/>
            <a:ea typeface="+mn-ea"/>
            <a:cs typeface="+mn-cs"/>
          </a:endParaRPr>
        </a:p>
      </dsp:txBody>
      <dsp:txXfrm>
        <a:off x="5321970" y="848633"/>
        <a:ext cx="1578190" cy="982628"/>
      </dsp:txXfrm>
    </dsp:sp>
    <dsp:sp modelId="{89649579-F52D-466B-A588-AED3B9ADF3FC}">
      <dsp:nvSpPr>
        <dsp:cNvPr id="0" name=""/>
        <dsp:cNvSpPr/>
      </dsp:nvSpPr>
      <dsp:spPr>
        <a:xfrm>
          <a:off x="3790518" y="1804909"/>
          <a:ext cx="1456791" cy="1456969"/>
        </a:xfrm>
        <a:prstGeom prst="ellipse">
          <a:avLst/>
        </a:prstGeom>
        <a:solidFill>
          <a:schemeClr val="accent5">
            <a:alpha val="50000"/>
            <a:hueOff val="-391939"/>
            <a:satOff val="5819"/>
            <a:lumOff val="-2941"/>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DA5ABB51-60F5-4F45-90D6-2266863EF8E2}">
      <dsp:nvSpPr>
        <dsp:cNvPr id="0" name=""/>
        <dsp:cNvSpPr/>
      </dsp:nvSpPr>
      <dsp:spPr>
        <a:xfrm>
          <a:off x="5473719" y="2099251"/>
          <a:ext cx="1547840" cy="104962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NoSQL </a:t>
          </a:r>
          <a:r>
            <a:rPr lang="en-US" sz="1400" kern="1200" dirty="0" smtClean="0">
              <a:latin typeface="Arial"/>
              <a:ea typeface="+mn-ea"/>
              <a:cs typeface="+mn-cs"/>
            </a:rPr>
            <a:t>database</a:t>
          </a:r>
          <a:endParaRPr lang="en-US" sz="1400" kern="1200" dirty="0">
            <a:latin typeface="Arial"/>
            <a:ea typeface="+mn-ea"/>
            <a:cs typeface="+mn-cs"/>
          </a:endParaRPr>
        </a:p>
      </dsp:txBody>
      <dsp:txXfrm>
        <a:off x="5473719" y="2099251"/>
        <a:ext cx="1547840" cy="1049625"/>
      </dsp:txXfrm>
    </dsp:sp>
    <dsp:sp modelId="{0B451F86-06BC-420E-933B-D06676B34080}">
      <dsp:nvSpPr>
        <dsp:cNvPr id="0" name=""/>
        <dsp:cNvSpPr/>
      </dsp:nvSpPr>
      <dsp:spPr>
        <a:xfrm>
          <a:off x="3494911" y="2175628"/>
          <a:ext cx="1456791" cy="1456969"/>
        </a:xfrm>
        <a:prstGeom prst="ellipse">
          <a:avLst/>
        </a:prstGeom>
        <a:solidFill>
          <a:schemeClr val="accent5">
            <a:alpha val="50000"/>
            <a:hueOff val="-587908"/>
            <a:satOff val="8728"/>
            <a:lumOff val="-4411"/>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2DCFDFAE-D9C1-4919-B5AA-407029A151AE}">
      <dsp:nvSpPr>
        <dsp:cNvPr id="0" name=""/>
        <dsp:cNvSpPr/>
      </dsp:nvSpPr>
      <dsp:spPr>
        <a:xfrm>
          <a:off x="4806023" y="3506196"/>
          <a:ext cx="1669239" cy="96029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Written in C++  </a:t>
          </a:r>
          <a:endParaRPr lang="en-US" sz="1400" kern="1200" dirty="0">
            <a:latin typeface="Arial"/>
            <a:ea typeface="+mn-ea"/>
            <a:cs typeface="+mn-cs"/>
          </a:endParaRPr>
        </a:p>
      </dsp:txBody>
      <dsp:txXfrm>
        <a:off x="4806023" y="3506196"/>
        <a:ext cx="1669239" cy="960295"/>
      </dsp:txXfrm>
    </dsp:sp>
    <dsp:sp modelId="{9B1E7325-8893-45CB-8F98-C94F5B3F70FE}">
      <dsp:nvSpPr>
        <dsp:cNvPr id="0" name=""/>
        <dsp:cNvSpPr/>
      </dsp:nvSpPr>
      <dsp:spPr>
        <a:xfrm>
          <a:off x="3021454" y="2175628"/>
          <a:ext cx="1456791" cy="1456969"/>
        </a:xfrm>
        <a:prstGeom prst="ellipse">
          <a:avLst/>
        </a:prstGeom>
        <a:solidFill>
          <a:schemeClr val="accent5">
            <a:alpha val="50000"/>
            <a:hueOff val="-783877"/>
            <a:satOff val="11637"/>
            <a:lumOff val="-5882"/>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4E3C39FD-FB0C-4D94-8866-72648A7C9FB9}">
      <dsp:nvSpPr>
        <dsp:cNvPr id="0" name=""/>
        <dsp:cNvSpPr/>
      </dsp:nvSpPr>
      <dsp:spPr>
        <a:xfrm>
          <a:off x="1497893" y="3506196"/>
          <a:ext cx="1669239" cy="96029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Open-source project that mainly driven by 10gen Inc. </a:t>
          </a:r>
          <a:endParaRPr lang="en-US" sz="1400" kern="1200" dirty="0">
            <a:latin typeface="Arial"/>
            <a:ea typeface="+mn-ea"/>
            <a:cs typeface="+mn-cs"/>
          </a:endParaRPr>
        </a:p>
      </dsp:txBody>
      <dsp:txXfrm>
        <a:off x="1497893" y="3506196"/>
        <a:ext cx="1669239" cy="960295"/>
      </dsp:txXfrm>
    </dsp:sp>
    <dsp:sp modelId="{7D0460D4-BB5E-4AC5-9F47-C924C8BAE37E}">
      <dsp:nvSpPr>
        <dsp:cNvPr id="0" name=""/>
        <dsp:cNvSpPr/>
      </dsp:nvSpPr>
      <dsp:spPr>
        <a:xfrm>
          <a:off x="2725847" y="1804909"/>
          <a:ext cx="1456791" cy="1456969"/>
        </a:xfrm>
        <a:prstGeom prst="ellipse">
          <a:avLst/>
        </a:prstGeom>
        <a:solidFill>
          <a:schemeClr val="accent5">
            <a:alpha val="50000"/>
            <a:hueOff val="-979847"/>
            <a:satOff val="14547"/>
            <a:lumOff val="-7352"/>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343C4397-7464-4F81-B29B-AE8D69581284}">
      <dsp:nvSpPr>
        <dsp:cNvPr id="0" name=""/>
        <dsp:cNvSpPr/>
      </dsp:nvSpPr>
      <dsp:spPr>
        <a:xfrm>
          <a:off x="951597" y="2099251"/>
          <a:ext cx="1547840" cy="104962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10gen Inc. also offers professional services around  MongoDB  </a:t>
          </a:r>
          <a:endParaRPr lang="en-US" sz="1400" kern="1200" dirty="0">
            <a:latin typeface="Arial"/>
            <a:ea typeface="+mn-ea"/>
            <a:cs typeface="+mn-cs"/>
          </a:endParaRPr>
        </a:p>
      </dsp:txBody>
      <dsp:txXfrm>
        <a:off x="951597" y="2099251"/>
        <a:ext cx="1547840" cy="1049625"/>
      </dsp:txXfrm>
    </dsp:sp>
    <dsp:sp modelId="{392472E3-10AD-4527-9BFA-676456565D78}">
      <dsp:nvSpPr>
        <dsp:cNvPr id="0" name=""/>
        <dsp:cNvSpPr/>
      </dsp:nvSpPr>
      <dsp:spPr>
        <a:xfrm>
          <a:off x="2830857" y="1342627"/>
          <a:ext cx="1456791" cy="1456969"/>
        </a:xfrm>
        <a:prstGeom prst="ellipse">
          <a:avLst/>
        </a:prstGeom>
        <a:solidFill>
          <a:schemeClr val="accent5">
            <a:alpha val="50000"/>
            <a:hueOff val="-1175816"/>
            <a:satOff val="17456"/>
            <a:lumOff val="-8823"/>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63875448-721E-46BC-9265-EC9A5CBF317F}">
      <dsp:nvSpPr>
        <dsp:cNvPr id="0" name=""/>
        <dsp:cNvSpPr/>
      </dsp:nvSpPr>
      <dsp:spPr>
        <a:xfrm>
          <a:off x="1072996" y="848633"/>
          <a:ext cx="1578190" cy="98262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Has driver to all most every popular language programming </a:t>
          </a:r>
          <a:endParaRPr lang="en-US" sz="1400" kern="1200" dirty="0">
            <a:latin typeface="Arial"/>
            <a:ea typeface="+mn-ea"/>
            <a:cs typeface="+mn-cs"/>
          </a:endParaRPr>
        </a:p>
      </dsp:txBody>
      <dsp:txXfrm>
        <a:off x="1072996" y="848633"/>
        <a:ext cx="1578190" cy="9826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2B616-FDE0-44CE-AA9E-0C957223AA0C}">
      <dsp:nvSpPr>
        <dsp:cNvPr id="0" name=""/>
        <dsp:cNvSpPr/>
      </dsp:nvSpPr>
      <dsp:spPr>
        <a:xfrm>
          <a:off x="3420069" y="3157959"/>
          <a:ext cx="91440" cy="369259"/>
        </a:xfrm>
        <a:custGeom>
          <a:avLst/>
          <a:gdLst/>
          <a:ahLst/>
          <a:cxnLst/>
          <a:rect l="0" t="0" r="0" b="0"/>
          <a:pathLst>
            <a:path>
              <a:moveTo>
                <a:pt x="45720" y="0"/>
              </a:moveTo>
              <a:lnTo>
                <a:pt x="45720" y="369259"/>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A4E5D9-3915-4D37-A333-6B39CFA063AD}">
      <dsp:nvSpPr>
        <dsp:cNvPr id="0" name=""/>
        <dsp:cNvSpPr/>
      </dsp:nvSpPr>
      <dsp:spPr>
        <a:xfrm>
          <a:off x="3420069" y="1982467"/>
          <a:ext cx="91440" cy="369259"/>
        </a:xfrm>
        <a:custGeom>
          <a:avLst/>
          <a:gdLst/>
          <a:ahLst/>
          <a:cxnLst/>
          <a:rect l="0" t="0" r="0" b="0"/>
          <a:pathLst>
            <a:path>
              <a:moveTo>
                <a:pt x="45720" y="0"/>
              </a:moveTo>
              <a:lnTo>
                <a:pt x="45720" y="369259"/>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D82E36-E872-4EEB-9C90-356715632D97}">
      <dsp:nvSpPr>
        <dsp:cNvPr id="0" name=""/>
        <dsp:cNvSpPr/>
      </dsp:nvSpPr>
      <dsp:spPr>
        <a:xfrm>
          <a:off x="3420069" y="806975"/>
          <a:ext cx="91440" cy="369259"/>
        </a:xfrm>
        <a:custGeom>
          <a:avLst/>
          <a:gdLst/>
          <a:ahLst/>
          <a:cxnLst/>
          <a:rect l="0" t="0" r="0" b="0"/>
          <a:pathLst>
            <a:path>
              <a:moveTo>
                <a:pt x="45720" y="0"/>
              </a:moveTo>
              <a:lnTo>
                <a:pt x="45720" y="369259"/>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40EE56-2B7A-4ECB-832A-EF6D3F8E7308}">
      <dsp:nvSpPr>
        <dsp:cNvPr id="0" name=""/>
        <dsp:cNvSpPr/>
      </dsp:nvSpPr>
      <dsp:spPr>
        <a:xfrm>
          <a:off x="2585770" y="742"/>
          <a:ext cx="1760038"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A068665E-54A1-491F-AB3B-D92AB7821463}">
      <dsp:nvSpPr>
        <dsp:cNvPr id="0" name=""/>
        <dsp:cNvSpPr/>
      </dsp:nvSpPr>
      <dsp:spPr>
        <a:xfrm>
          <a:off x="2726843" y="134761"/>
          <a:ext cx="1760038"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A Database has “Collections”</a:t>
          </a:r>
          <a:endParaRPr lang="en-US" sz="1400" kern="1200" dirty="0"/>
        </a:p>
      </dsp:txBody>
      <dsp:txXfrm>
        <a:off x="2750457" y="158375"/>
        <a:ext cx="1712810" cy="759005"/>
      </dsp:txXfrm>
    </dsp:sp>
    <dsp:sp modelId="{81DF1BC2-1233-4FF3-9386-DB043FC94156}">
      <dsp:nvSpPr>
        <dsp:cNvPr id="0" name=""/>
        <dsp:cNvSpPr/>
      </dsp:nvSpPr>
      <dsp:spPr>
        <a:xfrm>
          <a:off x="2519068" y="1176234"/>
          <a:ext cx="1893441"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057AEE3-08B9-4FA4-88AA-913E747F302B}">
      <dsp:nvSpPr>
        <dsp:cNvPr id="0" name=""/>
        <dsp:cNvSpPr/>
      </dsp:nvSpPr>
      <dsp:spPr>
        <a:xfrm>
          <a:off x="2660142" y="1310254"/>
          <a:ext cx="1893441"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Collections have “Documents”</a:t>
          </a:r>
          <a:endParaRPr lang="en-US" sz="1400" kern="1200" dirty="0"/>
        </a:p>
      </dsp:txBody>
      <dsp:txXfrm>
        <a:off x="2683756" y="1333868"/>
        <a:ext cx="1846213" cy="759005"/>
      </dsp:txXfrm>
    </dsp:sp>
    <dsp:sp modelId="{4C4CBCA5-BEDC-4039-8C47-7E4AD4B222FA}">
      <dsp:nvSpPr>
        <dsp:cNvPr id="0" name=""/>
        <dsp:cNvSpPr/>
      </dsp:nvSpPr>
      <dsp:spPr>
        <a:xfrm>
          <a:off x="2485715" y="2351726"/>
          <a:ext cx="1960149"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DB6A9FDE-426B-4370-8A76-77F198984D43}">
      <dsp:nvSpPr>
        <dsp:cNvPr id="0" name=""/>
        <dsp:cNvSpPr/>
      </dsp:nvSpPr>
      <dsp:spPr>
        <a:xfrm>
          <a:off x="2626788" y="2485746"/>
          <a:ext cx="1960149"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Documents have “Fields”</a:t>
          </a:r>
          <a:endParaRPr lang="en-US" sz="1400" kern="1200" dirty="0"/>
        </a:p>
      </dsp:txBody>
      <dsp:txXfrm>
        <a:off x="2650402" y="2509360"/>
        <a:ext cx="1912921" cy="759005"/>
      </dsp:txXfrm>
    </dsp:sp>
    <dsp:sp modelId="{38E8A307-4C46-4739-A5D2-F35418A2EDD7}">
      <dsp:nvSpPr>
        <dsp:cNvPr id="0" name=""/>
        <dsp:cNvSpPr/>
      </dsp:nvSpPr>
      <dsp:spPr>
        <a:xfrm>
          <a:off x="2419007" y="3527219"/>
          <a:ext cx="2093565"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8DE9CC1A-6987-45EE-A16D-4CCD456337F4}">
      <dsp:nvSpPr>
        <dsp:cNvPr id="0" name=""/>
        <dsp:cNvSpPr/>
      </dsp:nvSpPr>
      <dsp:spPr>
        <a:xfrm>
          <a:off x="2560080" y="3661238"/>
          <a:ext cx="2093565"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Fields are key = value pairs</a:t>
          </a:r>
          <a:endParaRPr lang="en-US" sz="1400" kern="1200" dirty="0"/>
        </a:p>
      </dsp:txBody>
      <dsp:txXfrm>
        <a:off x="2583694" y="3684852"/>
        <a:ext cx="2046337" cy="75900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AE39F6-7834-40F1-8CB0-CA678004649F}">
      <dsp:nvSpPr>
        <dsp:cNvPr id="0" name=""/>
        <dsp:cNvSpPr/>
      </dsp:nvSpPr>
      <dsp:spPr>
        <a:xfrm>
          <a:off x="0" y="-35304"/>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stall mongodb on windows from the link given below:</a:t>
          </a:r>
          <a:endParaRPr lang="en-US" sz="1800" kern="1200" dirty="0"/>
        </a:p>
      </dsp:txBody>
      <dsp:txXfrm>
        <a:off x="27769" y="-7535"/>
        <a:ext cx="5614385" cy="892554"/>
      </dsp:txXfrm>
    </dsp:sp>
    <dsp:sp modelId="{1AEC0A07-43BB-496C-902E-DFC9D511A80D}">
      <dsp:nvSpPr>
        <dsp:cNvPr id="0" name=""/>
        <dsp:cNvSpPr/>
      </dsp:nvSpPr>
      <dsp:spPr>
        <a:xfrm>
          <a:off x="562596" y="1085168"/>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http://www.mongodb.org/downloads</a:t>
          </a:r>
          <a:endParaRPr lang="en-US" sz="1800" kern="1200" dirty="0"/>
        </a:p>
      </dsp:txBody>
      <dsp:txXfrm>
        <a:off x="590365" y="1112937"/>
        <a:ext cx="5483171" cy="892554"/>
      </dsp:txXfrm>
    </dsp:sp>
    <dsp:sp modelId="{F6202937-878C-4447-AD49-223CBED3C0D3}">
      <dsp:nvSpPr>
        <dsp:cNvPr id="0" name=""/>
        <dsp:cNvSpPr/>
      </dsp:nvSpPr>
      <dsp:spPr>
        <a:xfrm>
          <a:off x="1116795" y="2205641"/>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Make sure you get correct version of MongoDB depending upon your windows version. </a:t>
          </a:r>
          <a:endParaRPr lang="en-US" sz="1800" kern="1200" dirty="0"/>
        </a:p>
      </dsp:txBody>
      <dsp:txXfrm>
        <a:off x="1144564" y="2233410"/>
        <a:ext cx="5491568" cy="892554"/>
      </dsp:txXfrm>
    </dsp:sp>
    <dsp:sp modelId="{C8ABEC40-D59E-444A-A720-A55DD031E53A}">
      <dsp:nvSpPr>
        <dsp:cNvPr id="0" name=""/>
        <dsp:cNvSpPr/>
      </dsp:nvSpPr>
      <dsp:spPr>
        <a:xfrm>
          <a:off x="1679391" y="3255504"/>
          <a:ext cx="6717565" cy="1089310"/>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ongoDB for Windows 64-bit</a:t>
          </a:r>
          <a:r>
            <a:rPr lang="en-US" sz="1800" kern="1200" dirty="0" smtClean="0"/>
            <a:t>: This build type of MongoDB runs on any 64-bit version of Windows latest than Windows XP, involve Windows Server 2008 R2 and Windows 7 64-bit.</a:t>
          </a:r>
          <a:endParaRPr lang="en-US" sz="1800" kern="1200" dirty="0"/>
        </a:p>
      </dsp:txBody>
      <dsp:txXfrm>
        <a:off x="1711296" y="3287409"/>
        <a:ext cx="5474899" cy="1025500"/>
      </dsp:txXfrm>
    </dsp:sp>
    <dsp:sp modelId="{53FD85E5-2C27-4C5F-A673-39C7D846A1F7}">
      <dsp:nvSpPr>
        <dsp:cNvPr id="0" name=""/>
        <dsp:cNvSpPr/>
      </dsp:nvSpPr>
      <dsp:spPr>
        <a:xfrm>
          <a:off x="6101305" y="690848"/>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6239964" y="690848"/>
        <a:ext cx="338943" cy="463736"/>
      </dsp:txXfrm>
    </dsp:sp>
    <dsp:sp modelId="{49F4C822-5CF6-4C72-8246-075CF8C009A9}">
      <dsp:nvSpPr>
        <dsp:cNvPr id="0" name=""/>
        <dsp:cNvSpPr/>
      </dsp:nvSpPr>
      <dsp:spPr>
        <a:xfrm>
          <a:off x="6663901" y="1811320"/>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6802560" y="1811320"/>
        <a:ext cx="338943" cy="463736"/>
      </dsp:txXfrm>
    </dsp:sp>
    <dsp:sp modelId="{F0B0FB72-7737-4062-B834-EDD1C6815981}">
      <dsp:nvSpPr>
        <dsp:cNvPr id="0" name=""/>
        <dsp:cNvSpPr/>
      </dsp:nvSpPr>
      <dsp:spPr>
        <a:xfrm>
          <a:off x="7218100" y="2931793"/>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7356759" y="2931793"/>
        <a:ext cx="338943" cy="46373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847028-ED51-497A-8E55-9EE753F3D5CA}">
      <dsp:nvSpPr>
        <dsp:cNvPr id="0" name=""/>
        <dsp:cNvSpPr/>
      </dsp:nvSpPr>
      <dsp:spPr>
        <a:xfrm>
          <a:off x="0" y="535"/>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is a server process that runs on Windows/Linux , Os X. </a:t>
          </a:r>
          <a:endParaRPr lang="en-US" sz="2000" kern="1200" dirty="0"/>
        </a:p>
      </dsp:txBody>
      <dsp:txXfrm>
        <a:off x="65667" y="66202"/>
        <a:ext cx="7352840" cy="1213863"/>
      </dsp:txXfrm>
    </dsp:sp>
    <dsp:sp modelId="{4103217C-844C-4F5A-B091-FDD81A95A3C6}">
      <dsp:nvSpPr>
        <dsp:cNvPr id="0" name=""/>
        <dsp:cNvSpPr/>
      </dsp:nvSpPr>
      <dsp:spPr>
        <a:xfrm>
          <a:off x="0" y="1359401"/>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It can be run both as a 32 or 64-bit application. We recommend running in 64-bit mode, since Mongo is limited to a total data size of about 2GB for all databases in 32-bit mode. </a:t>
          </a:r>
          <a:endParaRPr lang="en-US" sz="2000" kern="1200" dirty="0"/>
        </a:p>
      </dsp:txBody>
      <dsp:txXfrm>
        <a:off x="65667" y="1425068"/>
        <a:ext cx="7352840" cy="1213863"/>
      </dsp:txXfrm>
    </dsp:sp>
    <dsp:sp modelId="{3D5A5D35-3E5B-4B88-951D-2E7DAC8C91AE}">
      <dsp:nvSpPr>
        <dsp:cNvPr id="0" name=""/>
        <dsp:cNvSpPr/>
      </dsp:nvSpPr>
      <dsp:spPr>
        <a:xfrm>
          <a:off x="0" y="2718267"/>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Clients connect to the MongoDB process, optionally authenticate themselves if security is turned on, and perform a sequence of actions, such as inserts, queries and updates.</a:t>
          </a:r>
          <a:endParaRPr lang="en-US" sz="2000" kern="1200" dirty="0"/>
        </a:p>
      </dsp:txBody>
      <dsp:txXfrm>
        <a:off x="65667" y="2783934"/>
        <a:ext cx="7352840" cy="121386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285DC2-CDEB-46F8-B31B-07F81CEEE517}">
      <dsp:nvSpPr>
        <dsp:cNvPr id="0" name=""/>
        <dsp:cNvSpPr/>
      </dsp:nvSpPr>
      <dsp:spPr>
        <a:xfrm>
          <a:off x="0" y="60720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Create a directory where</a:t>
          </a:r>
          <a:r>
            <a:rPr lang="en-US" sz="1800" b="0" kern="1200" dirty="0" smtClean="0">
              <a:latin typeface="+mn-lt"/>
            </a:rPr>
            <a:t> MongoDB stores all its data.</a:t>
          </a:r>
          <a:endParaRPr lang="en-US" sz="1800" kern="1200" dirty="0"/>
        </a:p>
      </dsp:txBody>
      <dsp:txXfrm>
        <a:off x="21075" y="628284"/>
        <a:ext cx="6525199" cy="389580"/>
      </dsp:txXfrm>
    </dsp:sp>
    <dsp:sp modelId="{E20EE2B3-7434-4C44-A77D-DB1D244D35CF}">
      <dsp:nvSpPr>
        <dsp:cNvPr id="0" name=""/>
        <dsp:cNvSpPr/>
      </dsp:nvSpPr>
      <dsp:spPr>
        <a:xfrm>
          <a:off x="0" y="109078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t>The MongoDB default data directory path is \data\db.</a:t>
          </a:r>
          <a:r>
            <a:rPr kumimoji="0" lang="en-US" sz="1800" b="0" i="0" u="none" strike="noStrike" kern="1200" cap="none" spc="0" normalizeH="0" baseline="0" noProof="0" dirty="0" smtClean="0">
              <a:ln/>
              <a:effectLst/>
              <a:uLnTx/>
              <a:uFillTx/>
              <a:latin typeface="+mn-lt"/>
              <a:ea typeface="+mn-ea"/>
              <a:cs typeface="+mn-cs"/>
            </a:rPr>
            <a:t> </a:t>
          </a:r>
          <a:endParaRPr lang="en-US" sz="1800" kern="1200" dirty="0"/>
        </a:p>
      </dsp:txBody>
      <dsp:txXfrm>
        <a:off x="21075" y="1111855"/>
        <a:ext cx="6525199" cy="389580"/>
      </dsp:txXfrm>
    </dsp:sp>
    <dsp:sp modelId="{5EF1D875-3CAF-42C6-AC43-00565DA6AB9C}">
      <dsp:nvSpPr>
        <dsp:cNvPr id="0" name=""/>
        <dsp:cNvSpPr/>
      </dsp:nvSpPr>
      <dsp:spPr>
        <a:xfrm>
          <a:off x="0" y="157435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Create the data folder  in</a:t>
          </a:r>
          <a:r>
            <a:rPr kumimoji="0" lang="en-US" sz="1800" b="0" i="0" u="none" strike="noStrike" kern="1200" cap="none" spc="0" normalizeH="0" noProof="0" dirty="0" smtClean="0">
              <a:ln/>
              <a:effectLst/>
              <a:uLnTx/>
              <a:uFillTx/>
              <a:latin typeface="+mn-lt"/>
              <a:ea typeface="+mn-ea"/>
              <a:cs typeface="+mn-cs"/>
            </a:rPr>
            <a:t> D:\</a:t>
          </a:r>
          <a:endParaRPr lang="en-US" sz="1800" kern="1200" dirty="0"/>
        </a:p>
      </dsp:txBody>
      <dsp:txXfrm>
        <a:off x="21075" y="1595425"/>
        <a:ext cx="6525199" cy="389580"/>
      </dsp:txXfrm>
    </dsp:sp>
    <dsp:sp modelId="{72175CC0-7BE4-4931-95F9-F61292A3D786}">
      <dsp:nvSpPr>
        <dsp:cNvPr id="0" name=""/>
        <dsp:cNvSpPr/>
      </dsp:nvSpPr>
      <dsp:spPr>
        <a:xfrm>
          <a:off x="0" y="205792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latin typeface="+mn-lt"/>
            </a:rPr>
            <a:t>Set the Path.</a:t>
          </a:r>
          <a:endParaRPr lang="en-US" sz="1800" kern="1200" dirty="0"/>
        </a:p>
      </dsp:txBody>
      <dsp:txXfrm>
        <a:off x="21075" y="2078995"/>
        <a:ext cx="6525199" cy="389580"/>
      </dsp:txXfrm>
    </dsp:sp>
    <dsp:sp modelId="{FFC283EB-B500-4830-84A0-F55134478803}">
      <dsp:nvSpPr>
        <dsp:cNvPr id="0" name=""/>
        <dsp:cNvSpPr/>
      </dsp:nvSpPr>
      <dsp:spPr>
        <a:xfrm>
          <a:off x="0" y="254148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Run mongod.exe</a:t>
          </a:r>
          <a:endParaRPr lang="en-US" sz="1800" kern="1200" dirty="0"/>
        </a:p>
      </dsp:txBody>
      <dsp:txXfrm>
        <a:off x="21075" y="2562564"/>
        <a:ext cx="6525199" cy="389580"/>
      </dsp:txXfrm>
    </dsp:sp>
    <dsp:sp modelId="{F3551CDD-695E-42DC-BFF9-FE865067369F}">
      <dsp:nvSpPr>
        <dsp:cNvPr id="0" name=""/>
        <dsp:cNvSpPr/>
      </dsp:nvSpPr>
      <dsp:spPr>
        <a:xfrm>
          <a:off x="0" y="302505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t>To start MongoDB server, we need to run mongod.exe</a:t>
          </a:r>
          <a:endParaRPr lang="en-US" sz="1800" kern="1200" dirty="0"/>
        </a:p>
      </dsp:txBody>
      <dsp:txXfrm>
        <a:off x="21075" y="3046134"/>
        <a:ext cx="6525199" cy="38958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582B86-999A-4728-B9D3-922D3F53197F}">
      <dsp:nvSpPr>
        <dsp:cNvPr id="0" name=""/>
        <dsp:cNvSpPr/>
      </dsp:nvSpPr>
      <dsp:spPr>
        <a:xfrm>
          <a:off x="0" y="19599"/>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D:\set up\mongodb&gt;mongod.exe --dbpath "d:\set up\mongodb\data" </a:t>
          </a:r>
          <a:endParaRPr lang="en-US" sz="2000" kern="1200" dirty="0"/>
        </a:p>
      </dsp:txBody>
      <dsp:txXfrm>
        <a:off x="59399" y="78998"/>
        <a:ext cx="7190743" cy="1098002"/>
      </dsp:txXfrm>
    </dsp:sp>
    <dsp:sp modelId="{88F4BE78-327C-44AB-BF74-FF80B7115757}">
      <dsp:nvSpPr>
        <dsp:cNvPr id="0" name=""/>
        <dsp:cNvSpPr/>
      </dsp:nvSpPr>
      <dsp:spPr>
        <a:xfrm>
          <a:off x="0" y="1423600"/>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is will show </a:t>
          </a:r>
          <a:r>
            <a:rPr lang="en-US" sz="2000" b="1" kern="1200" dirty="0" smtClean="0"/>
            <a:t>waiting for connections</a:t>
          </a:r>
          <a:r>
            <a:rPr lang="en-US" sz="2000" kern="1200" dirty="0" smtClean="0"/>
            <a:t> message on the console output indicates that the mongod.exe process is running successfully.</a:t>
          </a:r>
          <a:endParaRPr lang="en-US" sz="2000" kern="1200" dirty="0"/>
        </a:p>
      </dsp:txBody>
      <dsp:txXfrm>
        <a:off x="59399" y="1482999"/>
        <a:ext cx="7190743" cy="1098002"/>
      </dsp:txXfrm>
    </dsp:sp>
    <dsp:sp modelId="{EB9BA665-5A06-44EE-8414-80BBC63598CA}">
      <dsp:nvSpPr>
        <dsp:cNvPr id="0" name=""/>
        <dsp:cNvSpPr/>
      </dsp:nvSpPr>
      <dsp:spPr>
        <a:xfrm>
          <a:off x="0" y="2827600"/>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w to run the mongodb you need to open another command prompt and issue the following command.</a:t>
          </a:r>
          <a:endParaRPr lang="en-US" sz="2000" kern="1200" dirty="0"/>
        </a:p>
      </dsp:txBody>
      <dsp:txXfrm>
        <a:off x="59399" y="2886999"/>
        <a:ext cx="7190743" cy="109800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D4DAD-84E4-4C0D-A77A-71DB20EA7F42}">
      <dsp:nvSpPr>
        <dsp:cNvPr id="0" name=""/>
        <dsp:cNvSpPr/>
      </dsp:nvSpPr>
      <dsp:spPr>
        <a:xfrm>
          <a:off x="0" y="50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at is NOSQL database</a:t>
          </a:r>
          <a:endParaRPr lang="en-US" sz="2000" kern="1200" dirty="0"/>
        </a:p>
      </dsp:txBody>
      <dsp:txXfrm>
        <a:off x="24455" y="24959"/>
        <a:ext cx="6314700" cy="452060"/>
      </dsp:txXfrm>
    </dsp:sp>
    <dsp:sp modelId="{D07FD76E-F7ED-4131-830B-421584A6753E}">
      <dsp:nvSpPr>
        <dsp:cNvPr id="0" name=""/>
        <dsp:cNvSpPr/>
      </dsp:nvSpPr>
      <dsp:spPr>
        <a:xfrm>
          <a:off x="0" y="50936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dvantages of NOSQL</a:t>
          </a:r>
          <a:endParaRPr lang="en-US" sz="2000" kern="1200" dirty="0"/>
        </a:p>
      </dsp:txBody>
      <dsp:txXfrm>
        <a:off x="24455" y="533819"/>
        <a:ext cx="6314700" cy="452060"/>
      </dsp:txXfrm>
    </dsp:sp>
    <dsp:sp modelId="{521EA97D-2682-40D2-903C-71487C654160}">
      <dsp:nvSpPr>
        <dsp:cNvPr id="0" name=""/>
        <dsp:cNvSpPr/>
      </dsp:nvSpPr>
      <dsp:spPr>
        <a:xfrm>
          <a:off x="0" y="101822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y MongoDB </a:t>
          </a:r>
          <a:endParaRPr lang="en-US" sz="2000" kern="1200" dirty="0"/>
        </a:p>
      </dsp:txBody>
      <dsp:txXfrm>
        <a:off x="24455" y="1042679"/>
        <a:ext cx="6314700" cy="452060"/>
      </dsp:txXfrm>
    </dsp:sp>
    <dsp:sp modelId="{183E26D2-0296-47DA-A77C-D61AC51A7E61}">
      <dsp:nvSpPr>
        <dsp:cNvPr id="0" name=""/>
        <dsp:cNvSpPr/>
      </dsp:nvSpPr>
      <dsp:spPr>
        <a:xfrm>
          <a:off x="0" y="152708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ocument database</a:t>
          </a:r>
          <a:endParaRPr lang="en-US" sz="2000" kern="1200" dirty="0"/>
        </a:p>
      </dsp:txBody>
      <dsp:txXfrm>
        <a:off x="24455" y="1551539"/>
        <a:ext cx="6314700" cy="452060"/>
      </dsp:txXfrm>
    </dsp:sp>
    <dsp:sp modelId="{7F242ADD-83A8-4B5B-A481-5D52B014AB47}">
      <dsp:nvSpPr>
        <dsp:cNvPr id="0" name=""/>
        <dsp:cNvSpPr/>
      </dsp:nvSpPr>
      <dsp:spPr>
        <a:xfrm>
          <a:off x="0" y="203594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ata model</a:t>
          </a:r>
          <a:endParaRPr lang="en-US" sz="2000" kern="1200" dirty="0"/>
        </a:p>
      </dsp:txBody>
      <dsp:txXfrm>
        <a:off x="24455" y="2060399"/>
        <a:ext cx="6314700" cy="452060"/>
      </dsp:txXfrm>
    </dsp:sp>
    <dsp:sp modelId="{CBB7DB27-FC6A-4E28-917D-0300F17584B7}">
      <dsp:nvSpPr>
        <dsp:cNvPr id="0" name=""/>
        <dsp:cNvSpPr/>
      </dsp:nvSpPr>
      <dsp:spPr>
        <a:xfrm>
          <a:off x="0" y="254480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 Shell</a:t>
          </a:r>
          <a:endParaRPr lang="en-US" sz="2000" kern="1200" dirty="0"/>
        </a:p>
      </dsp:txBody>
      <dsp:txXfrm>
        <a:off x="24455" y="2569259"/>
        <a:ext cx="6314700" cy="452060"/>
      </dsp:txXfrm>
    </dsp:sp>
    <dsp:sp modelId="{6711257A-D50C-47BA-A5ED-6D6278D3C0F9}">
      <dsp:nvSpPr>
        <dsp:cNvPr id="0" name=""/>
        <dsp:cNvSpPr/>
      </dsp:nvSpPr>
      <dsp:spPr>
        <a:xfrm>
          <a:off x="0" y="305366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stablishing Connection</a:t>
          </a:r>
          <a:endParaRPr lang="en-US" sz="2000" kern="1200" dirty="0"/>
        </a:p>
      </dsp:txBody>
      <dsp:txXfrm>
        <a:off x="24455" y="3078119"/>
        <a:ext cx="6314700" cy="452060"/>
      </dsp:txXfrm>
    </dsp:sp>
    <dsp:sp modelId="{ADEAD7EC-56FB-46AE-93C1-F0B63C3058B8}">
      <dsp:nvSpPr>
        <dsp:cNvPr id="0" name=""/>
        <dsp:cNvSpPr/>
      </dsp:nvSpPr>
      <dsp:spPr>
        <a:xfrm>
          <a:off x="0" y="356252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derstand about </a:t>
          </a:r>
          <a:r>
            <a:rPr lang="en-US" sz="2000" kern="1200" dirty="0" smtClean="0"/>
            <a:t>Collection</a:t>
          </a:r>
          <a:endParaRPr lang="en-US" sz="2000" kern="1200" dirty="0" smtClean="0"/>
        </a:p>
        <a:p>
          <a:pPr lvl="0" algn="l" defTabSz="889000">
            <a:lnSpc>
              <a:spcPct val="90000"/>
            </a:lnSpc>
            <a:spcBef>
              <a:spcPct val="0"/>
            </a:spcBef>
            <a:spcAft>
              <a:spcPct val="35000"/>
            </a:spcAft>
          </a:pPr>
          <a:r>
            <a:rPr lang="en-US" sz="2000" kern="1200" dirty="0" smtClean="0"/>
            <a:t>on, document and fields</a:t>
          </a:r>
          <a:endParaRPr lang="en-US" sz="2000" kern="1200" dirty="0"/>
        </a:p>
      </dsp:txBody>
      <dsp:txXfrm>
        <a:off x="24455" y="3586979"/>
        <a:ext cx="6314700" cy="4520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D0AF37-EDDA-4820-9154-1A5D06098700}">
      <dsp:nvSpPr>
        <dsp:cNvPr id="0" name=""/>
        <dsp:cNvSpPr/>
      </dsp:nvSpPr>
      <dsp:spPr>
        <a:xfrm>
          <a:off x="0" y="350"/>
          <a:ext cx="6319951" cy="47603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n-lt"/>
              <a:ea typeface="Calibri" pitchFamily="34" charset="0"/>
              <a:cs typeface="Calibri" pitchFamily="34" charset="0"/>
            </a:rPr>
            <a:t>MongoDB does not need any pre-defined data schema.</a:t>
          </a:r>
          <a:endParaRPr lang="en-US" sz="1800" kern="1200" dirty="0">
            <a:latin typeface="+mn-lt"/>
          </a:endParaRPr>
        </a:p>
      </dsp:txBody>
      <dsp:txXfrm>
        <a:off x="23238" y="23588"/>
        <a:ext cx="6273475" cy="429556"/>
      </dsp:txXfrm>
    </dsp:sp>
    <dsp:sp modelId="{2A437644-D085-4852-9A8C-81871287A1BF}">
      <dsp:nvSpPr>
        <dsp:cNvPr id="0" name=""/>
        <dsp:cNvSpPr/>
      </dsp:nvSpPr>
      <dsp:spPr>
        <a:xfrm>
          <a:off x="0" y="485987"/>
          <a:ext cx="6319951" cy="47603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n-lt"/>
              <a:ea typeface="Calibri" pitchFamily="34" charset="0"/>
              <a:cs typeface="Calibri" pitchFamily="34" charset="0"/>
            </a:rPr>
            <a:t>Every document could have different data!</a:t>
          </a:r>
          <a:endParaRPr lang="en-US" sz="1800" kern="1200" dirty="0">
            <a:latin typeface="+mn-lt"/>
          </a:endParaRPr>
        </a:p>
      </dsp:txBody>
      <dsp:txXfrm>
        <a:off x="23238" y="509225"/>
        <a:ext cx="6273475" cy="4295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D59E3-1D59-4ED6-8DE3-59EE375EBA13}">
      <dsp:nvSpPr>
        <dsp:cNvPr id="0" name=""/>
        <dsp:cNvSpPr/>
      </dsp:nvSpPr>
      <dsp:spPr>
        <a:xfrm>
          <a:off x="0" y="2806"/>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Document Oriented Database</a:t>
          </a:r>
          <a:endParaRPr lang="en-US" sz="1800" kern="1200" dirty="0"/>
        </a:p>
      </dsp:txBody>
      <dsp:txXfrm>
        <a:off x="20278" y="23084"/>
        <a:ext cx="3321137" cy="374839"/>
      </dsp:txXfrm>
    </dsp:sp>
    <dsp:sp modelId="{B80A6210-F8A1-4BE9-9CAE-A4A931FF1032}">
      <dsp:nvSpPr>
        <dsp:cNvPr id="0" name=""/>
        <dsp:cNvSpPr/>
      </dsp:nvSpPr>
      <dsp:spPr>
        <a:xfrm>
          <a:off x="0" y="426583"/>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Adhoc queries</a:t>
          </a:r>
          <a:endParaRPr lang="en-US" sz="1800" kern="1200" dirty="0"/>
        </a:p>
      </dsp:txBody>
      <dsp:txXfrm>
        <a:off x="20278" y="446861"/>
        <a:ext cx="3321137" cy="374839"/>
      </dsp:txXfrm>
    </dsp:sp>
    <dsp:sp modelId="{DD5DE0D1-7E76-4D12-905C-51B8DF56C8EC}">
      <dsp:nvSpPr>
        <dsp:cNvPr id="0" name=""/>
        <dsp:cNvSpPr/>
      </dsp:nvSpPr>
      <dsp:spPr>
        <a:xfrm>
          <a:off x="0" y="850360"/>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dexing</a:t>
          </a:r>
          <a:endParaRPr lang="en-US" sz="1800" kern="1200" dirty="0"/>
        </a:p>
      </dsp:txBody>
      <dsp:txXfrm>
        <a:off x="20278" y="870638"/>
        <a:ext cx="3321137" cy="374839"/>
      </dsp:txXfrm>
    </dsp:sp>
    <dsp:sp modelId="{BE9310B8-C1D5-4FB7-AF32-ED8A47BF7EF1}">
      <dsp:nvSpPr>
        <dsp:cNvPr id="0" name=""/>
        <dsp:cNvSpPr/>
      </dsp:nvSpPr>
      <dsp:spPr>
        <a:xfrm>
          <a:off x="0" y="1274137"/>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High Performance</a:t>
          </a:r>
          <a:endParaRPr lang="en-US" sz="1800" kern="1200" dirty="0"/>
        </a:p>
      </dsp:txBody>
      <dsp:txXfrm>
        <a:off x="20278" y="1294415"/>
        <a:ext cx="3321137" cy="374839"/>
      </dsp:txXfrm>
    </dsp:sp>
    <dsp:sp modelId="{5117DBFA-EB80-444E-A33B-8C5886F01717}">
      <dsp:nvSpPr>
        <dsp:cNvPr id="0" name=""/>
        <dsp:cNvSpPr/>
      </dsp:nvSpPr>
      <dsp:spPr>
        <a:xfrm>
          <a:off x="0" y="1697914"/>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High Availability </a:t>
          </a:r>
          <a:endParaRPr lang="en-US" sz="1800" kern="1200" dirty="0"/>
        </a:p>
      </dsp:txBody>
      <dsp:txXfrm>
        <a:off x="20278" y="1718192"/>
        <a:ext cx="3321137" cy="374839"/>
      </dsp:txXfrm>
    </dsp:sp>
    <dsp:sp modelId="{8AE65C7E-E2B8-4DE6-9645-7361F4E52780}">
      <dsp:nvSpPr>
        <dsp:cNvPr id="0" name=""/>
        <dsp:cNvSpPr/>
      </dsp:nvSpPr>
      <dsp:spPr>
        <a:xfrm>
          <a:off x="0" y="2121691"/>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Sharding</a:t>
          </a:r>
          <a:endParaRPr lang="en-US" sz="1800" kern="1200" dirty="0"/>
        </a:p>
      </dsp:txBody>
      <dsp:txXfrm>
        <a:off x="20278" y="2141969"/>
        <a:ext cx="3321137" cy="374839"/>
      </dsp:txXfrm>
    </dsp:sp>
    <dsp:sp modelId="{AC4C11C0-471B-49B0-BEA6-86D6F23BCC79}">
      <dsp:nvSpPr>
        <dsp:cNvPr id="0" name=""/>
        <dsp:cNvSpPr/>
      </dsp:nvSpPr>
      <dsp:spPr>
        <a:xfrm>
          <a:off x="0" y="2545468"/>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Easy Scalability</a:t>
          </a:r>
          <a:endParaRPr lang="en-US" sz="1800" kern="1200" dirty="0"/>
        </a:p>
      </dsp:txBody>
      <dsp:txXfrm>
        <a:off x="20278" y="2565746"/>
        <a:ext cx="3321137" cy="374839"/>
      </dsp:txXfrm>
    </dsp:sp>
    <dsp:sp modelId="{AF9D4756-8BCB-4DD0-B27A-2293631F5DA5}">
      <dsp:nvSpPr>
        <dsp:cNvPr id="0" name=""/>
        <dsp:cNvSpPr/>
      </dsp:nvSpPr>
      <dsp:spPr>
        <a:xfrm>
          <a:off x="0" y="2969245"/>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File Storage </a:t>
          </a:r>
          <a:endParaRPr lang="en-US" sz="1800" kern="1200" dirty="0"/>
        </a:p>
      </dsp:txBody>
      <dsp:txXfrm>
        <a:off x="20278" y="2989523"/>
        <a:ext cx="3321137" cy="374839"/>
      </dsp:txXfrm>
    </dsp:sp>
    <dsp:sp modelId="{8B462331-68C8-41EA-9F05-0D662A890829}">
      <dsp:nvSpPr>
        <dsp:cNvPr id="0" name=""/>
        <dsp:cNvSpPr/>
      </dsp:nvSpPr>
      <dsp:spPr>
        <a:xfrm>
          <a:off x="0" y="3393022"/>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Rich Query Language </a:t>
          </a:r>
          <a:endParaRPr lang="en-US" sz="1800" kern="1200" dirty="0"/>
        </a:p>
      </dsp:txBody>
      <dsp:txXfrm>
        <a:off x="20278" y="3413300"/>
        <a:ext cx="3321137" cy="374839"/>
      </dsp:txXfrm>
    </dsp:sp>
    <dsp:sp modelId="{6CD785DF-12BA-4A11-AFBB-38184A09A405}">
      <dsp:nvSpPr>
        <dsp:cNvPr id="0" name=""/>
        <dsp:cNvSpPr/>
      </dsp:nvSpPr>
      <dsp:spPr>
        <a:xfrm>
          <a:off x="0" y="3816798"/>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Load Balancing</a:t>
          </a:r>
          <a:endParaRPr lang="en-US" sz="1800" kern="1200" dirty="0"/>
        </a:p>
      </dsp:txBody>
      <dsp:txXfrm>
        <a:off x="20278" y="3837076"/>
        <a:ext cx="3321137" cy="374839"/>
      </dsp:txXfrm>
    </dsp:sp>
    <dsp:sp modelId="{695DAB92-17A2-4D31-8819-C00C23A51046}">
      <dsp:nvSpPr>
        <dsp:cNvPr id="0" name=""/>
        <dsp:cNvSpPr/>
      </dsp:nvSpPr>
      <dsp:spPr>
        <a:xfrm>
          <a:off x="0" y="4240575"/>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Replication </a:t>
          </a:r>
          <a:endParaRPr lang="en-US" sz="1800" kern="1200" dirty="0"/>
        </a:p>
      </dsp:txBody>
      <dsp:txXfrm>
        <a:off x="20278" y="4260853"/>
        <a:ext cx="3321137" cy="374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262B8B-6C4E-4550-ADD6-FD0B9D853EC3}">
      <dsp:nvSpPr>
        <dsp:cNvPr id="0" name=""/>
        <dsp:cNvSpPr/>
      </dsp:nvSpPr>
      <dsp:spPr>
        <a:xfrm>
          <a:off x="0"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Big Data</a:t>
          </a:r>
          <a:endParaRPr lang="en-US" sz="1800" b="1" kern="1200" dirty="0"/>
        </a:p>
      </dsp:txBody>
      <dsp:txXfrm>
        <a:off x="0" y="712787"/>
        <a:ext cx="2029557" cy="1217734"/>
      </dsp:txXfrm>
    </dsp:sp>
    <dsp:sp modelId="{5CFCE19D-5E47-4B97-BA72-8C0F8B17D486}">
      <dsp:nvSpPr>
        <dsp:cNvPr id="0" name=""/>
        <dsp:cNvSpPr/>
      </dsp:nvSpPr>
      <dsp:spPr>
        <a:xfrm>
          <a:off x="2232513"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Content Management and Delivery</a:t>
          </a:r>
          <a:endParaRPr lang="en-US" sz="1800" b="1" kern="1200" dirty="0"/>
        </a:p>
      </dsp:txBody>
      <dsp:txXfrm>
        <a:off x="2232513" y="712787"/>
        <a:ext cx="2029557" cy="1217734"/>
      </dsp:txXfrm>
    </dsp:sp>
    <dsp:sp modelId="{C21D06D8-FEB7-41DB-900D-908F685232BF}">
      <dsp:nvSpPr>
        <dsp:cNvPr id="0" name=""/>
        <dsp:cNvSpPr/>
      </dsp:nvSpPr>
      <dsp:spPr>
        <a:xfrm>
          <a:off x="4465027"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Mobile  and  Social  Infrastructure</a:t>
          </a:r>
          <a:endParaRPr lang="en-US" sz="1800" b="1" kern="1200" dirty="0"/>
        </a:p>
      </dsp:txBody>
      <dsp:txXfrm>
        <a:off x="4465027" y="712787"/>
        <a:ext cx="2029557" cy="1217734"/>
      </dsp:txXfrm>
    </dsp:sp>
    <dsp:sp modelId="{7C377125-F7BF-470E-A73F-887FEE4571D6}">
      <dsp:nvSpPr>
        <dsp:cNvPr id="0" name=""/>
        <dsp:cNvSpPr/>
      </dsp:nvSpPr>
      <dsp:spPr>
        <a:xfrm>
          <a:off x="1116256" y="213347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User Data Management </a:t>
          </a:r>
          <a:endParaRPr lang="en-US" sz="1800" b="1" kern="1200" dirty="0"/>
        </a:p>
      </dsp:txBody>
      <dsp:txXfrm>
        <a:off x="1116256" y="2133477"/>
        <a:ext cx="2029557" cy="1217734"/>
      </dsp:txXfrm>
    </dsp:sp>
    <dsp:sp modelId="{8991BEFB-68FC-4DAD-A6CB-84C7C7E84224}">
      <dsp:nvSpPr>
        <dsp:cNvPr id="0" name=""/>
        <dsp:cNvSpPr/>
      </dsp:nvSpPr>
      <dsp:spPr>
        <a:xfrm>
          <a:off x="3348770" y="213347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Data Hub</a:t>
          </a:r>
          <a:endParaRPr lang="en-US" sz="1800" b="1" kern="1200" dirty="0"/>
        </a:p>
      </dsp:txBody>
      <dsp:txXfrm>
        <a:off x="3348770" y="2133477"/>
        <a:ext cx="2029557" cy="12177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63D0AA-1BEB-40F8-9781-33C1CD04103D}">
      <dsp:nvSpPr>
        <dsp:cNvPr id="0" name=""/>
        <dsp:cNvSpPr/>
      </dsp:nvSpPr>
      <dsp:spPr>
        <a:xfrm rot="5400000">
          <a:off x="4539891" y="-2488604"/>
          <a:ext cx="1033830" cy="6271681"/>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Database is a physical container for collections. Each database gets its own set of files on the file system. A single MongoDB server typically has multiple databases.</a:t>
          </a:r>
          <a:endParaRPr lang="en-US" sz="1800" kern="1200" dirty="0"/>
        </a:p>
      </dsp:txBody>
      <dsp:txXfrm rot="-5400000">
        <a:off x="1920966" y="180788"/>
        <a:ext cx="6221214" cy="932896"/>
      </dsp:txXfrm>
    </dsp:sp>
    <dsp:sp modelId="{985DEF69-AF3F-4BA4-809D-DA9BC81EA066}">
      <dsp:nvSpPr>
        <dsp:cNvPr id="0" name=""/>
        <dsp:cNvSpPr/>
      </dsp:nvSpPr>
      <dsp:spPr>
        <a:xfrm>
          <a:off x="0" y="1091"/>
          <a:ext cx="1905844"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kumimoji="0" lang="en-US" sz="1800" b="1" i="0" u="none" strike="noStrike" kern="1200" cap="none" spc="0" normalizeH="0" baseline="0" noProof="0" dirty="0" smtClean="0">
              <a:ln/>
              <a:effectLst/>
              <a:uLnTx/>
              <a:uFillTx/>
              <a:latin typeface="+mn-lt"/>
              <a:ea typeface="+mn-ea"/>
              <a:cs typeface="+mn-cs"/>
            </a:rPr>
            <a:t>Database</a:t>
          </a:r>
          <a:endParaRPr lang="en-US" sz="1800" b="1" kern="1200" dirty="0"/>
        </a:p>
      </dsp:txBody>
      <dsp:txXfrm>
        <a:off x="63084" y="64175"/>
        <a:ext cx="1779676" cy="1166120"/>
      </dsp:txXfrm>
    </dsp:sp>
    <dsp:sp modelId="{27A0BB42-7978-4F9C-8E49-FA2557FDFF12}">
      <dsp:nvSpPr>
        <dsp:cNvPr id="0" name=""/>
        <dsp:cNvSpPr/>
      </dsp:nvSpPr>
      <dsp:spPr>
        <a:xfrm rot="5400000">
          <a:off x="4306057" y="-1028957"/>
          <a:ext cx="1491652" cy="6265557"/>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Collection is a group of MongoDB documents. It is the equivalent of an RDBMS table. A collection exists within a single database. Collections do not enforce a schema. Documents within a collection can have different fields. Typically, all documents in a collection are of similar or related purpose.</a:t>
          </a:r>
          <a:endParaRPr lang="en-US" sz="1800" kern="1200" dirty="0"/>
        </a:p>
      </dsp:txBody>
      <dsp:txXfrm rot="-5400000">
        <a:off x="1919105" y="1430811"/>
        <a:ext cx="6192741" cy="1346020"/>
      </dsp:txXfrm>
    </dsp:sp>
    <dsp:sp modelId="{A56E1515-DF23-43A7-B9D9-AD9A280AD867}">
      <dsp:nvSpPr>
        <dsp:cNvPr id="0" name=""/>
        <dsp:cNvSpPr/>
      </dsp:nvSpPr>
      <dsp:spPr>
        <a:xfrm>
          <a:off x="0" y="1457676"/>
          <a:ext cx="1903983"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kumimoji="0" lang="en-US" sz="1800" b="1" i="0" u="none" strike="noStrike" kern="1200" cap="none" spc="0" normalizeH="0" noProof="0" dirty="0" smtClean="0">
              <a:ln/>
              <a:effectLst/>
              <a:uLnTx/>
              <a:uFillTx/>
              <a:latin typeface="+mn-lt"/>
              <a:ea typeface="+mn-ea"/>
              <a:cs typeface="+mn-cs"/>
            </a:rPr>
            <a:t>Collection</a:t>
          </a:r>
          <a:endParaRPr lang="en-US" sz="1800" b="1" kern="1200" dirty="0"/>
        </a:p>
      </dsp:txBody>
      <dsp:txXfrm>
        <a:off x="63084" y="1520760"/>
        <a:ext cx="1777815" cy="1166120"/>
      </dsp:txXfrm>
    </dsp:sp>
    <dsp:sp modelId="{DF71A630-C40A-4B5D-A4AB-FB0D8EDC2A07}">
      <dsp:nvSpPr>
        <dsp:cNvPr id="0" name=""/>
        <dsp:cNvSpPr/>
      </dsp:nvSpPr>
      <dsp:spPr>
        <a:xfrm rot="5400000">
          <a:off x="4451514" y="424564"/>
          <a:ext cx="1210584" cy="6271681"/>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A document is a set of key-value pairs. Documents have dynamic schema. Dynamic schema means that documents in the same collection do not need to have the same set of fields or structure, and common fields in a collection's documents may hold different types of data.</a:t>
          </a:r>
          <a:endParaRPr lang="en-US" sz="1800" kern="1200" dirty="0"/>
        </a:p>
      </dsp:txBody>
      <dsp:txXfrm rot="-5400000">
        <a:off x="1920966" y="3014208"/>
        <a:ext cx="6212585" cy="1092392"/>
      </dsp:txXfrm>
    </dsp:sp>
    <dsp:sp modelId="{FF0C317D-0626-48B7-86E6-638E9CA1A7C8}">
      <dsp:nvSpPr>
        <dsp:cNvPr id="0" name=""/>
        <dsp:cNvSpPr/>
      </dsp:nvSpPr>
      <dsp:spPr>
        <a:xfrm>
          <a:off x="0" y="2914261"/>
          <a:ext cx="1905844"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i="0" kern="1200" dirty="0" smtClean="0">
              <a:latin typeface="Arial" charset="0"/>
              <a:ea typeface="+mn-ea"/>
              <a:cs typeface="+mn-cs"/>
            </a:rPr>
            <a:t>Document </a:t>
          </a:r>
          <a:endParaRPr lang="en-US" sz="1800" b="1" kern="1200" dirty="0"/>
        </a:p>
      </dsp:txBody>
      <dsp:txXfrm>
        <a:off x="63084" y="2977345"/>
        <a:ext cx="1779676" cy="11661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D4F7FF-7A90-4106-89E1-253302B88D9D}">
      <dsp:nvSpPr>
        <dsp:cNvPr id="0" name=""/>
        <dsp:cNvSpPr/>
      </dsp:nvSpPr>
      <dsp:spPr>
        <a:xfrm>
          <a:off x="0" y="27519"/>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noProof="0" dirty="0" smtClean="0">
              <a:ln/>
              <a:effectLst/>
              <a:uLnTx/>
              <a:uFillTx/>
              <a:latin typeface="+mn-lt"/>
              <a:ea typeface="+mn-ea"/>
              <a:cs typeface="+mn-cs"/>
            </a:rPr>
            <a:t>Document based (max 16 MB).</a:t>
          </a:r>
          <a:endParaRPr lang="en-US" sz="1800" kern="1200" dirty="0"/>
        </a:p>
      </dsp:txBody>
      <dsp:txXfrm>
        <a:off x="43864" y="71383"/>
        <a:ext cx="6722976" cy="810832"/>
      </dsp:txXfrm>
    </dsp:sp>
    <dsp:sp modelId="{448EE699-B611-4015-B7ED-82D4AABCEDB3}">
      <dsp:nvSpPr>
        <dsp:cNvPr id="0" name=""/>
        <dsp:cNvSpPr/>
      </dsp:nvSpPr>
      <dsp:spPr>
        <a:xfrm>
          <a:off x="0" y="1064319"/>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latin typeface="+mn-lt"/>
            </a:rPr>
            <a:t>Documents are in BSON formats consisting of field / value </a:t>
          </a:r>
          <a:r>
            <a:rPr kumimoji="0" lang="en-US" sz="1800" b="0" i="0" u="none" strike="noStrike" kern="1200" cap="none" spc="0" normalizeH="0" noProof="0" dirty="0" smtClean="0">
              <a:ln/>
              <a:effectLst/>
              <a:uLnTx/>
              <a:uFillTx/>
              <a:latin typeface="+mn-lt"/>
              <a:ea typeface="+mn-ea"/>
              <a:cs typeface="+mn-cs"/>
            </a:rPr>
            <a:t>pairs.</a:t>
          </a:r>
          <a:endParaRPr lang="en-US" sz="1800" kern="1200" dirty="0"/>
        </a:p>
      </dsp:txBody>
      <dsp:txXfrm>
        <a:off x="43864" y="1108183"/>
        <a:ext cx="6722976" cy="810832"/>
      </dsp:txXfrm>
    </dsp:sp>
    <dsp:sp modelId="{91B4606D-C022-4993-B2FC-32E1B0ECE572}">
      <dsp:nvSpPr>
        <dsp:cNvPr id="0" name=""/>
        <dsp:cNvSpPr/>
      </dsp:nvSpPr>
      <dsp:spPr>
        <a:xfrm>
          <a:off x="0" y="2101120"/>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Each document stored in a collection.</a:t>
          </a:r>
          <a:endParaRPr lang="en-US" sz="1800" kern="1200" dirty="0"/>
        </a:p>
      </dsp:txBody>
      <dsp:txXfrm>
        <a:off x="43864" y="2144984"/>
        <a:ext cx="6722976" cy="810832"/>
      </dsp:txXfrm>
    </dsp:sp>
    <dsp:sp modelId="{5E08730C-B87D-4E2F-A328-D278FF002D14}">
      <dsp:nvSpPr>
        <dsp:cNvPr id="0" name=""/>
        <dsp:cNvSpPr/>
      </dsp:nvSpPr>
      <dsp:spPr>
        <a:xfrm>
          <a:off x="0" y="3137920"/>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Schema</a:t>
          </a:r>
          <a:r>
            <a:rPr kumimoji="0" lang="en-US" sz="1800" b="0" i="0" u="none" strike="noStrike" kern="1200" cap="none" spc="0" normalizeH="0" noProof="0" dirty="0" smtClean="0">
              <a:ln/>
              <a:effectLst/>
              <a:uLnTx/>
              <a:uFillTx/>
              <a:latin typeface="+mn-lt"/>
              <a:ea typeface="+mn-ea"/>
              <a:cs typeface="+mn-cs"/>
            </a:rPr>
            <a:t> less.</a:t>
          </a:r>
          <a:endParaRPr lang="en-US" sz="1800" kern="1200" dirty="0"/>
        </a:p>
      </dsp:txBody>
      <dsp:txXfrm>
        <a:off x="43864" y="3181784"/>
        <a:ext cx="6722976" cy="81083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792A5D-39F0-41D5-ADA5-5AFFCDCF39FC}">
      <dsp:nvSpPr>
        <dsp:cNvPr id="0" name=""/>
        <dsp:cNvSpPr/>
      </dsp:nvSpPr>
      <dsp:spPr>
        <a:xfrm>
          <a:off x="0" y="12366"/>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MongoDB instance may have one or more Databases.</a:t>
          </a:r>
          <a:endParaRPr lang="en-US" sz="2000" kern="1200" dirty="0"/>
        </a:p>
      </dsp:txBody>
      <dsp:txXfrm>
        <a:off x="38424" y="50790"/>
        <a:ext cx="7301414" cy="710269"/>
      </dsp:txXfrm>
    </dsp:sp>
    <dsp:sp modelId="{245342B3-01C7-4E90-A8AB-4B33AF7EC35E}">
      <dsp:nvSpPr>
        <dsp:cNvPr id="0" name=""/>
        <dsp:cNvSpPr/>
      </dsp:nvSpPr>
      <dsp:spPr>
        <a:xfrm>
          <a:off x="0" y="825403"/>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database may have one or more Collections.</a:t>
          </a:r>
          <a:endParaRPr lang="en-US" sz="2000" kern="1200" dirty="0"/>
        </a:p>
      </dsp:txBody>
      <dsp:txXfrm>
        <a:off x="38424" y="863827"/>
        <a:ext cx="7301414" cy="710269"/>
      </dsp:txXfrm>
    </dsp:sp>
    <dsp:sp modelId="{58786B89-2FF1-4A88-AB65-6F76754043F9}">
      <dsp:nvSpPr>
        <dsp:cNvPr id="0" name=""/>
        <dsp:cNvSpPr/>
      </dsp:nvSpPr>
      <dsp:spPr>
        <a:xfrm>
          <a:off x="0" y="1638441"/>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collection may have zero or more Documents.</a:t>
          </a:r>
          <a:endParaRPr lang="en-US" sz="2000" kern="1200" dirty="0"/>
        </a:p>
      </dsp:txBody>
      <dsp:txXfrm>
        <a:off x="38424" y="1676865"/>
        <a:ext cx="7301414" cy="710269"/>
      </dsp:txXfrm>
    </dsp:sp>
    <dsp:sp modelId="{B29AFDCC-0C36-4EDB-A7FA-67B3BEA31637}">
      <dsp:nvSpPr>
        <dsp:cNvPr id="0" name=""/>
        <dsp:cNvSpPr/>
      </dsp:nvSpPr>
      <dsp:spPr>
        <a:xfrm>
          <a:off x="0" y="2451478"/>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document may have one or more Fields.</a:t>
          </a:r>
          <a:endParaRPr lang="en-US" sz="2000" kern="1200" dirty="0"/>
        </a:p>
      </dsp:txBody>
      <dsp:txXfrm>
        <a:off x="38424" y="2489902"/>
        <a:ext cx="7301414" cy="710269"/>
      </dsp:txXfrm>
    </dsp:sp>
    <dsp:sp modelId="{D2594521-BCF2-4DF7-BDCF-7037AAAE58CB}">
      <dsp:nvSpPr>
        <dsp:cNvPr id="0" name=""/>
        <dsp:cNvSpPr/>
      </dsp:nvSpPr>
      <dsp:spPr>
        <a:xfrm>
          <a:off x="0" y="3264516"/>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indexes function much like their RDBMS counterparts.</a:t>
          </a:r>
          <a:endParaRPr lang="en-US" sz="2000" kern="1200" dirty="0"/>
        </a:p>
      </dsp:txBody>
      <dsp:txXfrm>
        <a:off x="38424" y="3302940"/>
        <a:ext cx="7301414" cy="71026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FA066-910D-4BFA-B063-07F6E799F08B}">
      <dsp:nvSpPr>
        <dsp:cNvPr id="0" name=""/>
        <dsp:cNvSpPr/>
      </dsp:nvSpPr>
      <dsp:spPr>
        <a:xfrm>
          <a:off x="78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mongod</a:t>
          </a:r>
          <a:endParaRPr lang="en-US" sz="2000" b="1" kern="1200" dirty="0"/>
        </a:p>
      </dsp:txBody>
      <dsp:txXfrm>
        <a:off x="29769" y="28984"/>
        <a:ext cx="1616632" cy="931623"/>
      </dsp:txXfrm>
    </dsp:sp>
    <dsp:sp modelId="{3D952A01-C4F5-426F-8269-3CA9732F2A6A}">
      <dsp:nvSpPr>
        <dsp:cNvPr id="0" name=""/>
        <dsp:cNvSpPr/>
      </dsp:nvSpPr>
      <dsp:spPr>
        <a:xfrm>
          <a:off x="1842845" y="287145"/>
          <a:ext cx="355015" cy="41530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b="1" kern="1200" dirty="0"/>
        </a:p>
      </dsp:txBody>
      <dsp:txXfrm>
        <a:off x="1842845" y="370205"/>
        <a:ext cx="248511" cy="249180"/>
      </dsp:txXfrm>
    </dsp:sp>
    <dsp:sp modelId="{33895960-6B90-4D69-8D75-623D8491FE41}">
      <dsp:nvSpPr>
        <dsp:cNvPr id="0" name=""/>
        <dsp:cNvSpPr/>
      </dsp:nvSpPr>
      <dsp:spPr>
        <a:xfrm>
          <a:off x="234522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server</a:t>
          </a:r>
          <a:endParaRPr lang="en-US" sz="2000" b="1" kern="1200" dirty="0"/>
        </a:p>
      </dsp:txBody>
      <dsp:txXfrm>
        <a:off x="2374209" y="28984"/>
        <a:ext cx="1616632" cy="93162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FA066-910D-4BFA-B063-07F6E799F08B}">
      <dsp:nvSpPr>
        <dsp:cNvPr id="0" name=""/>
        <dsp:cNvSpPr/>
      </dsp:nvSpPr>
      <dsp:spPr>
        <a:xfrm>
          <a:off x="78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mongo</a:t>
          </a:r>
          <a:endParaRPr lang="en-US" sz="2000" b="1" kern="1200" dirty="0"/>
        </a:p>
      </dsp:txBody>
      <dsp:txXfrm>
        <a:off x="29769" y="28984"/>
        <a:ext cx="1616632" cy="931623"/>
      </dsp:txXfrm>
    </dsp:sp>
    <dsp:sp modelId="{3D952A01-C4F5-426F-8269-3CA9732F2A6A}">
      <dsp:nvSpPr>
        <dsp:cNvPr id="0" name=""/>
        <dsp:cNvSpPr/>
      </dsp:nvSpPr>
      <dsp:spPr>
        <a:xfrm>
          <a:off x="1842845" y="287145"/>
          <a:ext cx="355015" cy="41530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b="1" kern="1200" dirty="0"/>
        </a:p>
      </dsp:txBody>
      <dsp:txXfrm>
        <a:off x="1842845" y="370205"/>
        <a:ext cx="248511" cy="249180"/>
      </dsp:txXfrm>
    </dsp:sp>
    <dsp:sp modelId="{33895960-6B90-4D69-8D75-623D8491FE41}">
      <dsp:nvSpPr>
        <dsp:cNvPr id="0" name=""/>
        <dsp:cNvSpPr/>
      </dsp:nvSpPr>
      <dsp:spPr>
        <a:xfrm>
          <a:off x="234522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client </a:t>
          </a:r>
          <a:endParaRPr lang="en-US" sz="2000" b="1" kern="1200" dirty="0"/>
        </a:p>
      </dsp:txBody>
      <dsp:txXfrm>
        <a:off x="2374209" y="28984"/>
        <a:ext cx="1616632" cy="93162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3">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01295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Arial" charset="0"/>
                <a:ea typeface="+mn-ea"/>
                <a:cs typeface="+mn-cs"/>
              </a:rPr>
              <a:t>Document-oriented </a:t>
            </a:r>
          </a:p>
          <a:p>
            <a:r>
              <a:rPr lang="en-US" sz="1200" kern="1200" baseline="0" dirty="0" smtClean="0">
                <a:solidFill>
                  <a:schemeClr val="tx1"/>
                </a:solidFill>
                <a:latin typeface="Arial" charset="0"/>
                <a:ea typeface="+mn-ea"/>
                <a:cs typeface="+mn-cs"/>
              </a:rPr>
              <a:t>Documents (objects) map nicely to programming language data types </a:t>
            </a:r>
          </a:p>
          <a:p>
            <a:r>
              <a:rPr lang="en-US" sz="1200" kern="1200" baseline="0" dirty="0" smtClean="0">
                <a:solidFill>
                  <a:schemeClr val="tx1"/>
                </a:solidFill>
                <a:latin typeface="Arial" charset="0"/>
                <a:ea typeface="+mn-ea"/>
                <a:cs typeface="+mn-cs"/>
              </a:rPr>
              <a:t>Embedded documents and arrays reduce need for joins </a:t>
            </a:r>
          </a:p>
          <a:p>
            <a:r>
              <a:rPr lang="en-US" sz="1200" kern="1200" baseline="0" dirty="0" smtClean="0">
                <a:solidFill>
                  <a:schemeClr val="tx1"/>
                </a:solidFill>
                <a:latin typeface="Arial" charset="0"/>
                <a:ea typeface="+mn-ea"/>
                <a:cs typeface="+mn-cs"/>
              </a:rPr>
              <a:t>Dynamically-typed </a:t>
            </a:r>
            <a:r>
              <a:rPr lang="en-US" sz="1200" kern="1200" baseline="0" dirty="0" smtClean="0">
                <a:solidFill>
                  <a:schemeClr val="tx1"/>
                </a:solidFill>
                <a:latin typeface="Arial" charset="0"/>
                <a:ea typeface="+mn-ea"/>
                <a:cs typeface="+mn-cs"/>
              </a:rPr>
              <a:t>(schema less) </a:t>
            </a:r>
            <a:r>
              <a:rPr lang="en-US" sz="1200" kern="1200" baseline="0" dirty="0" smtClean="0">
                <a:solidFill>
                  <a:schemeClr val="tx1"/>
                </a:solidFill>
                <a:latin typeface="Arial" charset="0"/>
                <a:ea typeface="+mn-ea"/>
                <a:cs typeface="+mn-cs"/>
              </a:rPr>
              <a:t>for easy schema evolution </a:t>
            </a:r>
          </a:p>
          <a:p>
            <a:r>
              <a:rPr lang="en-US" sz="1200" kern="1200" baseline="0" dirty="0" smtClean="0">
                <a:solidFill>
                  <a:schemeClr val="tx1"/>
                </a:solidFill>
                <a:latin typeface="Arial" charset="0"/>
                <a:ea typeface="+mn-ea"/>
                <a:cs typeface="+mn-cs"/>
              </a:rPr>
              <a:t>No joins and </a:t>
            </a:r>
            <a:r>
              <a:rPr lang="en-US" sz="1200" b="1" kern="1200" baseline="0" dirty="0" smtClean="0">
                <a:solidFill>
                  <a:schemeClr val="tx1"/>
                </a:solidFill>
                <a:latin typeface="Arial" charset="0"/>
                <a:ea typeface="+mn-ea"/>
                <a:cs typeface="+mn-cs"/>
              </a:rPr>
              <a:t>no multi-document transactions for high performance and easy scalability </a:t>
            </a:r>
          </a:p>
          <a:p>
            <a:r>
              <a:rPr lang="en-US" sz="1200" b="1" kern="1200" baseline="0" dirty="0" smtClean="0">
                <a:solidFill>
                  <a:schemeClr val="tx1"/>
                </a:solidFill>
                <a:latin typeface="Arial" charset="0"/>
                <a:ea typeface="+mn-ea"/>
                <a:cs typeface="+mn-cs"/>
              </a:rPr>
              <a:t>High performance </a:t>
            </a:r>
          </a:p>
          <a:p>
            <a:r>
              <a:rPr lang="en-US" sz="1200" kern="1200" baseline="0" dirty="0" smtClean="0">
                <a:solidFill>
                  <a:schemeClr val="tx1"/>
                </a:solidFill>
                <a:latin typeface="Arial" charset="0"/>
                <a:ea typeface="+mn-ea"/>
                <a:cs typeface="+mn-cs"/>
              </a:rPr>
              <a:t>No joins and embedding makes reads and writes fast </a:t>
            </a:r>
          </a:p>
          <a:p>
            <a:r>
              <a:rPr lang="en-US" sz="1200" kern="1200" baseline="0" dirty="0" smtClean="0">
                <a:solidFill>
                  <a:schemeClr val="tx1"/>
                </a:solidFill>
                <a:latin typeface="Arial" charset="0"/>
                <a:ea typeface="+mn-ea"/>
                <a:cs typeface="+mn-cs"/>
              </a:rPr>
              <a:t>Indexes including indexing of keys from embedded documents and arrays </a:t>
            </a:r>
          </a:p>
          <a:p>
            <a:r>
              <a:rPr lang="en-US" sz="1200" kern="1200" baseline="0" dirty="0" smtClean="0">
                <a:solidFill>
                  <a:schemeClr val="tx1"/>
                </a:solidFill>
                <a:latin typeface="Arial" charset="0"/>
                <a:ea typeface="+mn-ea"/>
                <a:cs typeface="+mn-cs"/>
              </a:rPr>
              <a:t>Optional streaming writes (no acknowledgements) </a:t>
            </a:r>
          </a:p>
          <a:p>
            <a:r>
              <a:rPr lang="en-US" sz="1200" b="1" kern="1200" baseline="0" dirty="0" smtClean="0">
                <a:solidFill>
                  <a:schemeClr val="tx1"/>
                </a:solidFill>
                <a:latin typeface="Arial" charset="0"/>
                <a:ea typeface="+mn-ea"/>
                <a:cs typeface="+mn-cs"/>
              </a:rPr>
              <a:t>High availability </a:t>
            </a:r>
          </a:p>
          <a:p>
            <a:r>
              <a:rPr lang="en-US" sz="1200" kern="1200" baseline="0" dirty="0" smtClean="0">
                <a:solidFill>
                  <a:schemeClr val="tx1"/>
                </a:solidFill>
                <a:latin typeface="Arial" charset="0"/>
                <a:ea typeface="+mn-ea"/>
                <a:cs typeface="+mn-cs"/>
              </a:rPr>
              <a:t>Replicated servers with automatic master failover </a:t>
            </a:r>
          </a:p>
          <a:p>
            <a:r>
              <a:rPr lang="en-US" sz="1200" b="1" kern="1200" baseline="0" dirty="0" smtClean="0">
                <a:solidFill>
                  <a:schemeClr val="tx1"/>
                </a:solidFill>
                <a:latin typeface="Arial" charset="0"/>
                <a:ea typeface="+mn-ea"/>
                <a:cs typeface="+mn-cs"/>
              </a:rPr>
              <a:t>Easy scalability </a:t>
            </a:r>
          </a:p>
          <a:p>
            <a:r>
              <a:rPr lang="en-US" sz="1200" kern="1200" baseline="0" dirty="0" smtClean="0">
                <a:solidFill>
                  <a:schemeClr val="tx1"/>
                </a:solidFill>
                <a:latin typeface="Arial" charset="0"/>
                <a:ea typeface="+mn-ea"/>
                <a:cs typeface="+mn-cs"/>
              </a:rPr>
              <a:t>Automatic </a:t>
            </a:r>
            <a:r>
              <a:rPr lang="en-US" sz="1200" kern="1200" baseline="0" dirty="0" smtClean="0">
                <a:solidFill>
                  <a:schemeClr val="tx1"/>
                </a:solidFill>
                <a:latin typeface="Arial" charset="0"/>
                <a:ea typeface="+mn-ea"/>
                <a:cs typeface="+mn-cs"/>
              </a:rPr>
              <a:t>Sharding </a:t>
            </a:r>
            <a:r>
              <a:rPr lang="en-US" sz="1200" kern="1200" baseline="0" dirty="0" smtClean="0">
                <a:solidFill>
                  <a:schemeClr val="tx1"/>
                </a:solidFill>
                <a:latin typeface="Arial" charset="0"/>
                <a:ea typeface="+mn-ea"/>
                <a:cs typeface="+mn-cs"/>
              </a:rPr>
              <a:t>(auto-partitioning of data across servers) </a:t>
            </a:r>
          </a:p>
          <a:p>
            <a:r>
              <a:rPr lang="en-US" sz="1200" kern="1200" baseline="0" dirty="0" smtClean="0">
                <a:solidFill>
                  <a:schemeClr val="tx1"/>
                </a:solidFill>
                <a:latin typeface="Arial" charset="0"/>
                <a:ea typeface="+mn-ea"/>
                <a:cs typeface="+mn-cs"/>
              </a:rPr>
              <a:t>Reads and writes are distributed over shards </a:t>
            </a:r>
          </a:p>
          <a:p>
            <a:r>
              <a:rPr lang="en-US" sz="1200" kern="1200" baseline="0" dirty="0" smtClean="0">
                <a:solidFill>
                  <a:schemeClr val="tx1"/>
                </a:solidFill>
                <a:latin typeface="Arial" charset="0"/>
                <a:ea typeface="+mn-ea"/>
                <a:cs typeface="+mn-cs"/>
              </a:rPr>
              <a:t>No joins or multi-document transactions make distributed queries easy and fast </a:t>
            </a:r>
          </a:p>
          <a:p>
            <a:r>
              <a:rPr lang="en-US" sz="1200" kern="1200" baseline="0" dirty="0" smtClean="0">
                <a:solidFill>
                  <a:schemeClr val="tx1"/>
                </a:solidFill>
                <a:latin typeface="Arial" charset="0"/>
                <a:ea typeface="+mn-ea"/>
                <a:cs typeface="+mn-cs"/>
              </a:rPr>
              <a:t>Eventually-consistent reads can be distributed over replicated servers </a:t>
            </a:r>
          </a:p>
          <a:p>
            <a:r>
              <a:rPr lang="en-US" sz="1200" b="1" kern="1200" baseline="0" dirty="0" smtClean="0">
                <a:solidFill>
                  <a:schemeClr val="tx1"/>
                </a:solidFill>
                <a:latin typeface="Arial" charset="0"/>
                <a:ea typeface="+mn-ea"/>
                <a:cs typeface="+mn-cs"/>
              </a:rPr>
              <a:t>Rich query language </a:t>
            </a: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573216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82211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9560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046025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38850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180036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779354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356935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673521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302830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7750238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148045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5690137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638357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398797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lvl="0"/>
            <a:r>
              <a:rPr lang="en-US" sz="1000" dirty="0" smtClean="0"/>
              <a:t>&gt;switched to db cgdb &gt;db.dropDatabase() </a:t>
            </a:r>
          </a:p>
          <a:p>
            <a:pPr lvl="0"/>
            <a:r>
              <a:rPr lang="en-US" sz="1000" dirty="0" smtClean="0"/>
              <a:t>&gt;{ "dropped" : “cgdb", "ok" : 1 }</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736560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024998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i="0" kern="1200" dirty="0" smtClean="0">
                <a:solidFill>
                  <a:schemeClr val="tx1"/>
                </a:solidFill>
                <a:latin typeface="Arial" charset="0"/>
                <a:ea typeface="+mn-ea"/>
                <a:cs typeface="+mn-cs"/>
              </a:rPr>
              <a:t>MongoDB</a:t>
            </a:r>
            <a:r>
              <a:rPr lang="en-US" sz="1200" b="0" i="0" kern="1200" dirty="0" smtClean="0">
                <a:solidFill>
                  <a:schemeClr val="tx1"/>
                </a:solidFill>
                <a:latin typeface="Arial" charset="0"/>
                <a:ea typeface="+mn-ea"/>
                <a:cs typeface="+mn-cs"/>
              </a:rPr>
              <a:t> (from </a:t>
            </a:r>
            <a:r>
              <a:rPr lang="en-US" sz="1200" b="0" i="1" kern="1200" dirty="0" smtClean="0">
                <a:solidFill>
                  <a:schemeClr val="tx1"/>
                </a:solidFill>
                <a:latin typeface="Arial" charset="0"/>
                <a:ea typeface="+mn-ea"/>
                <a:cs typeface="+mn-cs"/>
              </a:rPr>
              <a:t>humongous</a:t>
            </a:r>
            <a:r>
              <a:rPr lang="en-US" sz="1200" b="0" i="0" kern="1200" dirty="0" smtClean="0">
                <a:solidFill>
                  <a:schemeClr val="tx1"/>
                </a:solidFill>
                <a:latin typeface="Arial" charset="0"/>
                <a:ea typeface="+mn-ea"/>
                <a:cs typeface="+mn-cs"/>
              </a:rPr>
              <a:t>) is a cross-platform </a:t>
            </a:r>
            <a:r>
              <a:rPr lang="en-US" sz="1200" b="0" i="0" u="none" strike="noStrike" kern="1200" baseline="0" dirty="0" smtClean="0">
                <a:solidFill>
                  <a:schemeClr val="tx1"/>
                </a:solidFill>
                <a:latin typeface="Arial" charset="0"/>
                <a:ea typeface="+mn-ea"/>
                <a:cs typeface="+mn-cs"/>
              </a:rPr>
              <a:t>document oriented database .</a:t>
            </a:r>
            <a:r>
              <a:rPr lang="en-US" sz="1200" b="0" i="0" kern="1200" dirty="0" smtClean="0">
                <a:solidFill>
                  <a:schemeClr val="tx1"/>
                </a:solidFill>
                <a:latin typeface="Arial" charset="0"/>
                <a:ea typeface="+mn-ea"/>
                <a:cs typeface="+mn-cs"/>
              </a:rPr>
              <a:t> Classified as a NoSQL database, MongoDB eschews the traditional table-based </a:t>
            </a:r>
            <a:r>
              <a:rPr lang="en-US" sz="1200" b="0" i="0" u="none" strike="noStrike" kern="1200" dirty="0" smtClean="0">
                <a:solidFill>
                  <a:schemeClr val="tx1"/>
                </a:solidFill>
                <a:latin typeface="Arial" charset="0"/>
                <a:ea typeface="+mn-ea"/>
                <a:cs typeface="+mn-cs"/>
              </a:rPr>
              <a:t>relational database </a:t>
            </a:r>
            <a:r>
              <a:rPr lang="en-US" sz="1200" b="0" i="0" kern="1200" dirty="0" smtClean="0">
                <a:solidFill>
                  <a:schemeClr val="tx1"/>
                </a:solidFill>
                <a:latin typeface="Arial" charset="0"/>
                <a:ea typeface="+mn-ea"/>
                <a:cs typeface="+mn-cs"/>
              </a:rPr>
              <a:t> structure in favor of </a:t>
            </a:r>
            <a:r>
              <a:rPr lang="en-US" sz="1200" b="0" i="0" u="none" strike="noStrike" kern="1200" dirty="0" smtClean="0">
                <a:solidFill>
                  <a:schemeClr val="tx1"/>
                </a:solidFill>
                <a:latin typeface="Arial" charset="0"/>
                <a:ea typeface="+mn-ea"/>
                <a:cs typeface="+mn-cs"/>
              </a:rPr>
              <a:t>JSON</a:t>
            </a:r>
            <a:r>
              <a:rPr lang="en-US" sz="1200" b="0" i="0" u="none" strike="noStrike" kern="1200" baseline="0" dirty="0" smtClean="0">
                <a:solidFill>
                  <a:schemeClr val="tx1"/>
                </a:solidFill>
                <a:latin typeface="Arial" charset="0"/>
                <a:ea typeface="+mn-ea"/>
                <a:cs typeface="+mn-cs"/>
              </a:rPr>
              <a:t> </a:t>
            </a:r>
            <a:r>
              <a:rPr lang="en-US" sz="1200" b="0" i="0" kern="1200" dirty="0" smtClean="0">
                <a:solidFill>
                  <a:schemeClr val="tx1"/>
                </a:solidFill>
                <a:latin typeface="Arial" charset="0"/>
                <a:ea typeface="+mn-ea"/>
                <a:cs typeface="+mn-cs"/>
              </a:rPr>
              <a:t>-like documents with dynamic </a:t>
            </a:r>
            <a:r>
              <a:rPr lang="en-US" sz="1200" b="0" i="0" u="none" strike="noStrike" kern="1200" dirty="0" smtClean="0">
                <a:solidFill>
                  <a:schemeClr val="tx1"/>
                </a:solidFill>
                <a:latin typeface="Arial" charset="0"/>
                <a:ea typeface="+mn-ea"/>
                <a:cs typeface="+mn-cs"/>
              </a:rPr>
              <a:t>schemas </a:t>
            </a:r>
            <a:r>
              <a:rPr lang="en-US" sz="1200" b="0" i="0" kern="1200" dirty="0" smtClean="0">
                <a:solidFill>
                  <a:schemeClr val="tx1"/>
                </a:solidFill>
                <a:latin typeface="Arial" charset="0"/>
                <a:ea typeface="+mn-ea"/>
                <a:cs typeface="+mn-cs"/>
              </a:rPr>
              <a:t> (MongoDB calls the format </a:t>
            </a:r>
            <a:r>
              <a:rPr lang="en-US" sz="1200" b="0" i="0" u="none" strike="noStrike" kern="1200" dirty="0" smtClean="0">
                <a:solidFill>
                  <a:schemeClr val="tx1"/>
                </a:solidFill>
                <a:latin typeface="Arial" charset="0"/>
                <a:ea typeface="+mn-ea"/>
                <a:cs typeface="+mn-cs"/>
              </a:rPr>
              <a:t>BSON</a:t>
            </a:r>
            <a:r>
              <a:rPr lang="en-US" sz="1200" b="0" i="0" kern="1200" dirty="0" smtClean="0">
                <a:solidFill>
                  <a:schemeClr val="tx1"/>
                </a:solidFill>
                <a:latin typeface="Arial" charset="0"/>
                <a:ea typeface="+mn-ea"/>
                <a:cs typeface="+mn-cs"/>
              </a:rPr>
              <a:t>), making the integration of data in certain types of applications easier and faster. Released under a combination of the </a:t>
            </a:r>
            <a:r>
              <a:rPr lang="en-US" sz="1200" b="0" i="0" u="none" strike="noStrike" kern="1200" dirty="0" smtClean="0">
                <a:solidFill>
                  <a:schemeClr val="tx1"/>
                </a:solidFill>
                <a:latin typeface="Arial" charset="0"/>
                <a:ea typeface="+mn-ea"/>
                <a:cs typeface="+mn-cs"/>
              </a:rPr>
              <a:t>GNU Affero General Public License</a:t>
            </a:r>
            <a:r>
              <a:rPr lang="en-US" sz="1200" b="0" i="0" kern="1200" dirty="0" smtClean="0">
                <a:solidFill>
                  <a:schemeClr val="tx1"/>
                </a:solidFill>
                <a:latin typeface="Arial" charset="0"/>
                <a:ea typeface="+mn-ea"/>
                <a:cs typeface="+mn-cs"/>
              </a:rPr>
              <a:t> and the </a:t>
            </a:r>
            <a:r>
              <a:rPr lang="en-US" sz="1200" b="0" i="0" u="none" strike="noStrike" kern="1200" dirty="0" smtClean="0">
                <a:solidFill>
                  <a:schemeClr val="tx1"/>
                </a:solidFill>
                <a:latin typeface="Arial" charset="0"/>
                <a:ea typeface="+mn-ea"/>
                <a:cs typeface="+mn-cs"/>
              </a:rPr>
              <a:t>Apache License</a:t>
            </a:r>
            <a:r>
              <a:rPr lang="en-US" sz="1200" b="0" i="0" kern="1200" dirty="0" smtClean="0">
                <a:solidFill>
                  <a:schemeClr val="tx1"/>
                </a:solidFill>
                <a:latin typeface="Arial" charset="0"/>
                <a:ea typeface="+mn-ea"/>
                <a:cs typeface="+mn-cs"/>
              </a:rPr>
              <a:t>, MongoDB is </a:t>
            </a:r>
            <a:r>
              <a:rPr lang="en-US" sz="1200" b="0" i="0" u="none" strike="noStrike" kern="1200" dirty="0" smtClean="0">
                <a:solidFill>
                  <a:schemeClr val="tx1"/>
                </a:solidFill>
                <a:latin typeface="Arial" charset="0"/>
                <a:ea typeface="+mn-ea"/>
                <a:cs typeface="+mn-cs"/>
              </a:rPr>
              <a:t>free and open-source software </a:t>
            </a:r>
          </a:p>
          <a:p>
            <a:endParaRPr lang="en-US" sz="1200" kern="1200" baseline="0" dirty="0" smtClean="0">
              <a:solidFill>
                <a:schemeClr val="tx1"/>
              </a:solidFill>
              <a:latin typeface="Arial" charset="0"/>
              <a:ea typeface="+mn-ea"/>
              <a:cs typeface="+mn-cs"/>
            </a:endParaRPr>
          </a:p>
          <a:p>
            <a:r>
              <a:rPr lang="en-US" sz="1200" kern="1200" baseline="0" dirty="0" smtClean="0">
                <a:solidFill>
                  <a:schemeClr val="tx1"/>
                </a:solidFill>
                <a:latin typeface="Arial" charset="0"/>
                <a:ea typeface="+mn-ea"/>
                <a:cs typeface="+mn-cs"/>
              </a:rPr>
              <a:t>MongoDB stores data in the form of documents, which are JSON-like field and value pairs. </a:t>
            </a:r>
          </a:p>
          <a:p>
            <a:r>
              <a:rPr lang="en-US" sz="1200" kern="1200" baseline="0" dirty="0" smtClean="0">
                <a:solidFill>
                  <a:schemeClr val="tx1"/>
                </a:solidFill>
                <a:latin typeface="Arial" charset="0"/>
                <a:ea typeface="+mn-ea"/>
                <a:cs typeface="+mn-cs"/>
              </a:rPr>
              <a:t>Documents are analogous to structures in programming languages that associate keys with values (e.g. dictionaries, hashes,</a:t>
            </a:r>
          </a:p>
          <a:p>
            <a:r>
              <a:rPr lang="en-US" sz="1200" kern="1200" baseline="0" dirty="0" smtClean="0">
                <a:solidFill>
                  <a:schemeClr val="tx1"/>
                </a:solidFill>
                <a:latin typeface="Arial" charset="0"/>
                <a:ea typeface="+mn-ea"/>
                <a:cs typeface="+mn-cs"/>
              </a:rPr>
              <a:t>maps, and associative arrays). </a:t>
            </a:r>
          </a:p>
          <a:p>
            <a:r>
              <a:rPr lang="en-US" sz="1200" kern="1200" baseline="0" dirty="0" smtClean="0">
                <a:solidFill>
                  <a:schemeClr val="tx1"/>
                </a:solidFill>
                <a:latin typeface="Arial" charset="0"/>
                <a:ea typeface="+mn-ea"/>
                <a:cs typeface="+mn-cs"/>
              </a:rPr>
              <a:t> Formally, MongoDB documents are BSON documents. BSON is a binary representation of JSON with additional type information. In the documents, the value of a field can be any of the BSON data types, including other documents, arrays, and arrays of documents </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078067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614329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47674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Applications enforce the data “schema” and integrity, much like MUMPS does in VistA</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850342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060258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265587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Arial" charset="0"/>
                <a:ea typeface="+mn-ea"/>
                <a:cs typeface="+mn-cs"/>
              </a:rPr>
              <a:t>Document-oriented </a:t>
            </a:r>
          </a:p>
          <a:p>
            <a:r>
              <a:rPr lang="en-US" sz="1200" kern="1200" baseline="0" dirty="0" smtClean="0">
                <a:solidFill>
                  <a:schemeClr val="tx1"/>
                </a:solidFill>
                <a:latin typeface="Arial" charset="0"/>
                <a:ea typeface="+mn-ea"/>
                <a:cs typeface="+mn-cs"/>
              </a:rPr>
              <a:t>Documents (objects) map nicely to programming language data types </a:t>
            </a:r>
          </a:p>
          <a:p>
            <a:r>
              <a:rPr lang="en-US" sz="1200" kern="1200" baseline="0" dirty="0" smtClean="0">
                <a:solidFill>
                  <a:schemeClr val="tx1"/>
                </a:solidFill>
                <a:latin typeface="Arial" charset="0"/>
                <a:ea typeface="+mn-ea"/>
                <a:cs typeface="+mn-cs"/>
              </a:rPr>
              <a:t>Embedded documents and arrays reduce need for joins </a:t>
            </a:r>
          </a:p>
          <a:p>
            <a:r>
              <a:rPr lang="en-US" sz="1200" kern="1200" baseline="0" dirty="0" smtClean="0">
                <a:solidFill>
                  <a:schemeClr val="tx1"/>
                </a:solidFill>
                <a:latin typeface="Arial" charset="0"/>
                <a:ea typeface="+mn-ea"/>
                <a:cs typeface="+mn-cs"/>
              </a:rPr>
              <a:t>Dynamically-typed (schemaless) for easy schema evolution </a:t>
            </a:r>
          </a:p>
          <a:p>
            <a:r>
              <a:rPr lang="en-US" sz="1200" kern="1200" baseline="0" dirty="0" smtClean="0">
                <a:solidFill>
                  <a:schemeClr val="tx1"/>
                </a:solidFill>
                <a:latin typeface="Arial" charset="0"/>
                <a:ea typeface="+mn-ea"/>
                <a:cs typeface="+mn-cs"/>
              </a:rPr>
              <a:t>No joins and </a:t>
            </a:r>
            <a:r>
              <a:rPr lang="en-US" sz="1200" b="1" kern="1200" baseline="0" dirty="0" smtClean="0">
                <a:solidFill>
                  <a:schemeClr val="tx1"/>
                </a:solidFill>
                <a:latin typeface="Arial" charset="0"/>
                <a:ea typeface="+mn-ea"/>
                <a:cs typeface="+mn-cs"/>
              </a:rPr>
              <a:t>no multi-document transactions for high performance and easy scalability </a:t>
            </a:r>
          </a:p>
          <a:p>
            <a:r>
              <a:rPr lang="en-US" sz="1200" b="1" kern="1200" baseline="0" dirty="0" smtClean="0">
                <a:solidFill>
                  <a:schemeClr val="tx1"/>
                </a:solidFill>
                <a:latin typeface="Arial" charset="0"/>
                <a:ea typeface="+mn-ea"/>
                <a:cs typeface="+mn-cs"/>
              </a:rPr>
              <a:t>High performance </a:t>
            </a:r>
          </a:p>
          <a:p>
            <a:r>
              <a:rPr lang="en-US" sz="1200" kern="1200" baseline="0" dirty="0" smtClean="0">
                <a:solidFill>
                  <a:schemeClr val="tx1"/>
                </a:solidFill>
                <a:latin typeface="Arial" charset="0"/>
                <a:ea typeface="+mn-ea"/>
                <a:cs typeface="+mn-cs"/>
              </a:rPr>
              <a:t>No joins and embedding makes reads and writes fast </a:t>
            </a:r>
          </a:p>
          <a:p>
            <a:r>
              <a:rPr lang="en-US" sz="1200" kern="1200" baseline="0" dirty="0" smtClean="0">
                <a:solidFill>
                  <a:schemeClr val="tx1"/>
                </a:solidFill>
                <a:latin typeface="Arial" charset="0"/>
                <a:ea typeface="+mn-ea"/>
                <a:cs typeface="+mn-cs"/>
              </a:rPr>
              <a:t>Indexes including indexing of keys from embedded documents and arrays </a:t>
            </a:r>
          </a:p>
          <a:p>
            <a:r>
              <a:rPr lang="en-US" sz="1200" kern="1200" baseline="0" dirty="0" smtClean="0">
                <a:solidFill>
                  <a:schemeClr val="tx1"/>
                </a:solidFill>
                <a:latin typeface="Arial" charset="0"/>
                <a:ea typeface="+mn-ea"/>
                <a:cs typeface="+mn-cs"/>
              </a:rPr>
              <a:t>Optional streaming writes (no acknowledgements) </a:t>
            </a:r>
          </a:p>
          <a:p>
            <a:r>
              <a:rPr lang="en-US" sz="1200" b="1" kern="1200" baseline="0" dirty="0" smtClean="0">
                <a:solidFill>
                  <a:schemeClr val="tx1"/>
                </a:solidFill>
                <a:latin typeface="Arial" charset="0"/>
                <a:ea typeface="+mn-ea"/>
                <a:cs typeface="+mn-cs"/>
              </a:rPr>
              <a:t>High availability </a:t>
            </a:r>
          </a:p>
          <a:p>
            <a:r>
              <a:rPr lang="en-US" sz="1200" kern="1200" baseline="0" dirty="0" smtClean="0">
                <a:solidFill>
                  <a:schemeClr val="tx1"/>
                </a:solidFill>
                <a:latin typeface="Arial" charset="0"/>
                <a:ea typeface="+mn-ea"/>
                <a:cs typeface="+mn-cs"/>
              </a:rPr>
              <a:t>Replicated servers with automatic master failover </a:t>
            </a:r>
          </a:p>
          <a:p>
            <a:r>
              <a:rPr lang="en-US" sz="1200" b="1" kern="1200" baseline="0" dirty="0" smtClean="0">
                <a:solidFill>
                  <a:schemeClr val="tx1"/>
                </a:solidFill>
                <a:latin typeface="Arial" charset="0"/>
                <a:ea typeface="+mn-ea"/>
                <a:cs typeface="+mn-cs"/>
              </a:rPr>
              <a:t>Easy scalability </a:t>
            </a:r>
          </a:p>
          <a:p>
            <a:r>
              <a:rPr lang="en-US" sz="1200" kern="1200" baseline="0" dirty="0" smtClean="0">
                <a:solidFill>
                  <a:schemeClr val="tx1"/>
                </a:solidFill>
                <a:latin typeface="Arial" charset="0"/>
                <a:ea typeface="+mn-ea"/>
                <a:cs typeface="+mn-cs"/>
              </a:rPr>
              <a:t>Automatic sharding (auto-partitioning of data across servers) </a:t>
            </a:r>
          </a:p>
          <a:p>
            <a:r>
              <a:rPr lang="en-US" sz="1200" kern="1200" baseline="0" dirty="0" smtClean="0">
                <a:solidFill>
                  <a:schemeClr val="tx1"/>
                </a:solidFill>
                <a:latin typeface="Arial" charset="0"/>
                <a:ea typeface="+mn-ea"/>
                <a:cs typeface="+mn-cs"/>
              </a:rPr>
              <a:t>Reads and writes are distributed over shards </a:t>
            </a:r>
          </a:p>
          <a:p>
            <a:r>
              <a:rPr lang="en-US" sz="1200" kern="1200" baseline="0" dirty="0" smtClean="0">
                <a:solidFill>
                  <a:schemeClr val="tx1"/>
                </a:solidFill>
                <a:latin typeface="Arial" charset="0"/>
                <a:ea typeface="+mn-ea"/>
                <a:cs typeface="+mn-cs"/>
              </a:rPr>
              <a:t>No joins or multi-document transactions make distributed queries easy and fast </a:t>
            </a:r>
          </a:p>
          <a:p>
            <a:r>
              <a:rPr lang="en-US" sz="1200" kern="1200" baseline="0" dirty="0" smtClean="0">
                <a:solidFill>
                  <a:schemeClr val="tx1"/>
                </a:solidFill>
                <a:latin typeface="Arial" charset="0"/>
                <a:ea typeface="+mn-ea"/>
                <a:cs typeface="+mn-cs"/>
              </a:rPr>
              <a:t>Eventually-consistent reads can be distributed over replicated servers </a:t>
            </a:r>
          </a:p>
          <a:p>
            <a:r>
              <a:rPr lang="en-US" sz="1200" b="1" kern="1200" baseline="0" dirty="0" smtClean="0">
                <a:solidFill>
                  <a:schemeClr val="tx1"/>
                </a:solidFill>
                <a:latin typeface="Arial" charset="0"/>
                <a:ea typeface="+mn-ea"/>
                <a:cs typeface="+mn-cs"/>
              </a:rPr>
              <a:t>Rich query language </a:t>
            </a: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198244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9.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9.xml"/><Relationship Id="rId1" Type="http://schemas.openxmlformats.org/officeDocument/2006/relationships/tags" Target="../tags/tag2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9.xml"/><Relationship Id="rId4" Type="http://schemas.openxmlformats.org/officeDocument/2006/relationships/tags" Target="../tags/tag2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2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9.xml"/><Relationship Id="rId1" Type="http://schemas.openxmlformats.org/officeDocument/2006/relationships/tags" Target="../tags/tag2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2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2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935750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804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337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277420895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29731645"/>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28930391"/>
      </p:ext>
    </p:extLst>
  </p:cSld>
  <p:clrMapOvr>
    <a:masterClrMapping/>
  </p:clrMapOvr>
  <p:timing>
    <p:tnLst>
      <p:par>
        <p:cTn id="1" dur="indefinite" restart="never" nodeType="tmRoot"/>
      </p:par>
    </p:tnLst>
  </p:timing>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61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20089575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635184"/>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4367209"/>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16217"/>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5873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530396187"/>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43892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42023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5001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913214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522817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81528"/>
            <a:ext cx="6793764" cy="4956989"/>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70622981"/>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024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074922" cy="5028908"/>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375305510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45981156"/>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Arial" panose="020B0604020202020204" pitchFamily="34" charset="0"/>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8020095"/>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4pPr>
              <a:defRPr baseline="0"/>
            </a:lvl4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1256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1943072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202076"/>
            <a:ext cx="6749556"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1914383"/>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354173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05504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141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263722"/>
            <a:ext cx="6338590" cy="4874796"/>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7800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491098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985324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25" Type="http://schemas.openxmlformats.org/officeDocument/2006/relationships/image" Target="../media/image16.svg"/><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4.sv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4.svg"/><Relationship Id="rId5" Type="http://schemas.openxmlformats.org/officeDocument/2006/relationships/slideLayout" Target="../slideLayouts/slideLayout17.xml"/><Relationship Id="rId10" Type="http://schemas.openxmlformats.org/officeDocument/2006/relationships/image" Target="../media/image1.png"/><Relationship Id="rId4" Type="http://schemas.openxmlformats.org/officeDocument/2006/relationships/slideLayout" Target="../slideLayouts/slideLayout1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6.xml"/><Relationship Id="rId1" Type="http://schemas.openxmlformats.org/officeDocument/2006/relationships/slideLayout" Target="../slideLayouts/slideLayout21.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5" Type="http://schemas.openxmlformats.org/officeDocument/2006/relationships/image" Target="../media/image16.svg"/><Relationship Id="rId2" Type="http://schemas.openxmlformats.org/officeDocument/2006/relationships/slideLayout" Target="../slideLayouts/slideLayout23.xml"/><Relationship Id="rId1" Type="http://schemas.openxmlformats.org/officeDocument/2006/relationships/slideLayout" Target="../slideLayouts/slideLayout22.xml"/><Relationship Id="rId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8.xml"/><Relationship Id="rId19" Type="http://schemas.openxmlformats.org/officeDocument/2006/relationships/image" Target="../media/image16.svg"/></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4.svg"/><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5045959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38" r:id="rId8"/>
  </p:sldLayoutIdLst>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0088710"/>
      </p:ext>
    </p:extLst>
  </p:cSld>
  <p:clrMap bg1="lt1" tx1="dk1" bg2="lt2" tx2="dk2" accent1="accent1" accent2="accent2" accent3="accent3" accent4="accent4" accent5="accent5" accent6="accent6" hlink="hlink" folHlink="folHlink"/>
  <p:sldLayoutIdLst>
    <p:sldLayoutId id="2147483722"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34992901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53" r:id="rId3"/>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70185664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180645956"/>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 id="2147483732" r:id="rId4"/>
    <p:sldLayoutId id="2147483733" r:id="rId5"/>
    <p:sldLayoutId id="2147483734" r:id="rId6"/>
    <p:sldLayoutId id="2147483735" r:id="rId7"/>
    <p:sldLayoutId id="2147483754"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18261904"/>
      </p:ext>
    </p:extLst>
  </p:cSld>
  <p:clrMap bg1="lt1" tx1="dk1" bg2="lt2" tx2="dk2" accent1="accent1" accent2="accent2" accent3="accent3" accent4="accent4" accent5="accent5" accent6="accent6" hlink="hlink" folHlink="folHlink"/>
  <p:sldLayoutIdLst>
    <p:sldLayoutId id="2147483740"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63137834"/>
      </p:ext>
    </p:extLst>
  </p:cSld>
  <p:clrMap bg1="lt1" tx1="dk1" bg2="lt2" tx2="dk2" accent1="accent1" accent2="accent2" accent3="accent3" accent4="accent4" accent5="accent5" accent6="accent6" hlink="hlink" folHlink="folHlink"/>
  <p:sldLayoutIdLst>
    <p:sldLayoutId id="2147483742" r:id="rId1"/>
    <p:sldLayoutId id="2147483743"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634543176"/>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267408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image" Target="../media/image3.emf"/><Relationship Id="rId11" Type="http://schemas.microsoft.com/office/2007/relationships/diagramDrawing" Target="../diagrams/drawing4.xml"/><Relationship Id="rId5" Type="http://schemas.openxmlformats.org/officeDocument/2006/relationships/oleObject" Target="../embeddings/oleObject14.bin"/><Relationship Id="rId10" Type="http://schemas.openxmlformats.org/officeDocument/2006/relationships/diagramColors" Target="../diagrams/colors4.xml"/><Relationship Id="rId4" Type="http://schemas.openxmlformats.org/officeDocument/2006/relationships/notesSlide" Target="../notesSlides/notesSlide10.xml"/><Relationship Id="rId9"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11.xml"/><Relationship Id="rId7" Type="http://schemas.openxmlformats.org/officeDocument/2006/relationships/diagramData" Target="../diagrams/data5.xml"/><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image" Target="../media/image3.emf"/><Relationship Id="rId11" Type="http://schemas.microsoft.com/office/2007/relationships/diagramDrawing" Target="../diagrams/drawing5.xml"/><Relationship Id="rId5" Type="http://schemas.openxmlformats.org/officeDocument/2006/relationships/oleObject" Target="../embeddings/oleObject16.bin"/><Relationship Id="rId10" Type="http://schemas.openxmlformats.org/officeDocument/2006/relationships/diagramColors" Target="../diagrams/colors5.xml"/><Relationship Id="rId4" Type="http://schemas.openxmlformats.org/officeDocument/2006/relationships/notesSlide" Target="../notesSlides/notesSlide12.xml"/><Relationship Id="rId9"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1.xml"/><Relationship Id="rId7" Type="http://schemas.openxmlformats.org/officeDocument/2006/relationships/diagramData" Target="../diagrams/data6.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3.emf"/><Relationship Id="rId11" Type="http://schemas.microsoft.com/office/2007/relationships/diagramDrawing" Target="../diagrams/drawing6.xml"/><Relationship Id="rId5" Type="http://schemas.openxmlformats.org/officeDocument/2006/relationships/oleObject" Target="../embeddings/oleObject17.bin"/><Relationship Id="rId10" Type="http://schemas.openxmlformats.org/officeDocument/2006/relationships/diagramColors" Target="../diagrams/colors6.xml"/><Relationship Id="rId4" Type="http://schemas.openxmlformats.org/officeDocument/2006/relationships/notesSlide" Target="../notesSlides/notesSlide13.xml"/><Relationship Id="rId9"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11.xml"/><Relationship Id="rId7" Type="http://schemas.openxmlformats.org/officeDocument/2006/relationships/image" Target="../media/image15.jpeg"/><Relationship Id="rId2" Type="http://schemas.openxmlformats.org/officeDocument/2006/relationships/tags" Target="../tags/tag41.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7.png"/><Relationship Id="rId2" Type="http://schemas.openxmlformats.org/officeDocument/2006/relationships/tags" Target="../tags/tag42.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1.xml"/><Relationship Id="rId7" Type="http://schemas.openxmlformats.org/officeDocument/2006/relationships/diagramData" Target="../diagrams/data7.xml"/><Relationship Id="rId2" Type="http://schemas.openxmlformats.org/officeDocument/2006/relationships/tags" Target="../tags/tag43.xml"/><Relationship Id="rId1" Type="http://schemas.openxmlformats.org/officeDocument/2006/relationships/vmlDrawing" Target="../drawings/vmlDrawing20.vml"/><Relationship Id="rId6" Type="http://schemas.openxmlformats.org/officeDocument/2006/relationships/image" Target="../media/image3.emf"/><Relationship Id="rId11" Type="http://schemas.microsoft.com/office/2007/relationships/diagramDrawing" Target="../diagrams/drawing7.xml"/><Relationship Id="rId5" Type="http://schemas.openxmlformats.org/officeDocument/2006/relationships/oleObject" Target="../embeddings/oleObject20.bin"/><Relationship Id="rId10" Type="http://schemas.openxmlformats.org/officeDocument/2006/relationships/diagramColors" Target="../diagrams/colors7.xml"/><Relationship Id="rId4" Type="http://schemas.openxmlformats.org/officeDocument/2006/relationships/notesSlide" Target="../notesSlides/notesSlide16.xml"/><Relationship Id="rId9"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diagramLayout" Target="../diagrams/layout9.xml"/><Relationship Id="rId3" Type="http://schemas.openxmlformats.org/officeDocument/2006/relationships/slideLayout" Target="../slideLayouts/slideLayout11.xml"/><Relationship Id="rId7" Type="http://schemas.openxmlformats.org/officeDocument/2006/relationships/diagramData" Target="../diagrams/data8.xml"/><Relationship Id="rId12" Type="http://schemas.openxmlformats.org/officeDocument/2006/relationships/diagramData" Target="../diagrams/data9.xml"/><Relationship Id="rId2" Type="http://schemas.openxmlformats.org/officeDocument/2006/relationships/tags" Target="../tags/tag44.xml"/><Relationship Id="rId16" Type="http://schemas.microsoft.com/office/2007/relationships/diagramDrawing" Target="../diagrams/drawing9.xml"/><Relationship Id="rId1" Type="http://schemas.openxmlformats.org/officeDocument/2006/relationships/vmlDrawing" Target="../drawings/vmlDrawing21.vml"/><Relationship Id="rId6" Type="http://schemas.openxmlformats.org/officeDocument/2006/relationships/image" Target="../media/image3.emf"/><Relationship Id="rId11" Type="http://schemas.microsoft.com/office/2007/relationships/diagramDrawing" Target="../diagrams/drawing8.xml"/><Relationship Id="rId5" Type="http://schemas.openxmlformats.org/officeDocument/2006/relationships/oleObject" Target="../embeddings/oleObject21.bin"/><Relationship Id="rId15" Type="http://schemas.openxmlformats.org/officeDocument/2006/relationships/diagramColors" Target="../diagrams/colors9.xml"/><Relationship Id="rId10" Type="http://schemas.openxmlformats.org/officeDocument/2006/relationships/diagramColors" Target="../diagrams/colors8.xml"/><Relationship Id="rId4" Type="http://schemas.openxmlformats.org/officeDocument/2006/relationships/notesSlide" Target="../notesSlides/notesSlide17.xml"/><Relationship Id="rId9" Type="http://schemas.openxmlformats.org/officeDocument/2006/relationships/diagramQuickStyle" Target="../diagrams/quickStyle8.xml"/><Relationship Id="rId14" Type="http://schemas.openxmlformats.org/officeDocument/2006/relationships/diagramQuickStyle" Target="../diagrams/quickStyle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20.xml"/><Relationship Id="rId7" Type="http://schemas.openxmlformats.org/officeDocument/2006/relationships/diagramData" Target="../diagrams/data10.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3.emf"/><Relationship Id="rId11" Type="http://schemas.microsoft.com/office/2007/relationships/diagramDrawing" Target="../diagrams/drawing10.xml"/><Relationship Id="rId5" Type="http://schemas.openxmlformats.org/officeDocument/2006/relationships/oleObject" Target="../embeddings/oleObject22.bin"/><Relationship Id="rId10" Type="http://schemas.openxmlformats.org/officeDocument/2006/relationships/diagramColors" Target="../diagrams/colors10.xml"/><Relationship Id="rId4" Type="http://schemas.openxmlformats.org/officeDocument/2006/relationships/notesSlide" Target="../notesSlides/notesSlide18.xml"/><Relationship Id="rId9" Type="http://schemas.openxmlformats.org/officeDocument/2006/relationships/diagramQuickStyle" Target="../diagrams/quickStyle10.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11.xml"/><Relationship Id="rId7" Type="http://schemas.openxmlformats.org/officeDocument/2006/relationships/image" Target="../media/image9.jpe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11.xml"/><Relationship Id="rId7" Type="http://schemas.openxmlformats.org/officeDocument/2006/relationships/diagramData" Target="../diagrams/data11.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11" Type="http://schemas.microsoft.com/office/2007/relationships/diagramDrawing" Target="../diagrams/drawing11.xml"/><Relationship Id="rId5" Type="http://schemas.openxmlformats.org/officeDocument/2006/relationships/oleObject" Target="../embeddings/oleObject23.bin"/><Relationship Id="rId10" Type="http://schemas.openxmlformats.org/officeDocument/2006/relationships/diagramColors" Target="../diagrams/colors11.xml"/><Relationship Id="rId4" Type="http://schemas.openxmlformats.org/officeDocument/2006/relationships/notesSlide" Target="../notesSlides/notesSlide19.xml"/><Relationship Id="rId9" Type="http://schemas.openxmlformats.org/officeDocument/2006/relationships/diagramQuickStyle" Target="../diagrams/quickStyle11.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11.xml"/><Relationship Id="rId7" Type="http://schemas.openxmlformats.org/officeDocument/2006/relationships/diagramData" Target="../diagrams/data12.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3.emf"/><Relationship Id="rId11" Type="http://schemas.microsoft.com/office/2007/relationships/diagramDrawing" Target="../diagrams/drawing12.xml"/><Relationship Id="rId5" Type="http://schemas.openxmlformats.org/officeDocument/2006/relationships/oleObject" Target="../embeddings/oleObject24.bin"/><Relationship Id="rId10" Type="http://schemas.openxmlformats.org/officeDocument/2006/relationships/diagramColors" Target="../diagrams/colors12.xml"/><Relationship Id="rId4" Type="http://schemas.openxmlformats.org/officeDocument/2006/relationships/notesSlide" Target="../notesSlides/notesSlide20.xml"/><Relationship Id="rId9" Type="http://schemas.openxmlformats.org/officeDocument/2006/relationships/diagramQuickStyle" Target="../diagrams/quickStyle12.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11.xml"/><Relationship Id="rId7" Type="http://schemas.openxmlformats.org/officeDocument/2006/relationships/diagramData" Target="../diagrams/data13.xml"/><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3.emf"/><Relationship Id="rId11" Type="http://schemas.microsoft.com/office/2007/relationships/diagramDrawing" Target="../diagrams/drawing13.xml"/><Relationship Id="rId5" Type="http://schemas.openxmlformats.org/officeDocument/2006/relationships/oleObject" Target="../embeddings/oleObject25.bin"/><Relationship Id="rId10" Type="http://schemas.openxmlformats.org/officeDocument/2006/relationships/diagramColors" Target="../diagrams/colors13.xml"/><Relationship Id="rId4" Type="http://schemas.openxmlformats.org/officeDocument/2006/relationships/notesSlide" Target="../notesSlides/notesSlide21.xml"/><Relationship Id="rId9" Type="http://schemas.openxmlformats.org/officeDocument/2006/relationships/diagramQuickStyle" Target="../diagrams/quickStyle13.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11.xml"/><Relationship Id="rId7" Type="http://schemas.openxmlformats.org/officeDocument/2006/relationships/diagramData" Target="../diagrams/data14.xml"/><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3.emf"/><Relationship Id="rId11" Type="http://schemas.microsoft.com/office/2007/relationships/diagramDrawing" Target="../diagrams/drawing14.xml"/><Relationship Id="rId5" Type="http://schemas.openxmlformats.org/officeDocument/2006/relationships/oleObject" Target="../embeddings/oleObject26.bin"/><Relationship Id="rId10" Type="http://schemas.openxmlformats.org/officeDocument/2006/relationships/diagramColors" Target="../diagrams/colors14.xml"/><Relationship Id="rId4" Type="http://schemas.openxmlformats.org/officeDocument/2006/relationships/notesSlide" Target="../notesSlides/notesSlide22.xml"/><Relationship Id="rId9" Type="http://schemas.openxmlformats.org/officeDocument/2006/relationships/diagramQuickStyle" Target="../diagrams/quickStyle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slideLayout" Target="../slideLayouts/slideLayout11.xml"/><Relationship Id="rId7" Type="http://schemas.openxmlformats.org/officeDocument/2006/relationships/diagramData" Target="../diagrams/data15.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3.emf"/><Relationship Id="rId11" Type="http://schemas.microsoft.com/office/2007/relationships/diagramDrawing" Target="../diagrams/drawing15.xml"/><Relationship Id="rId5" Type="http://schemas.openxmlformats.org/officeDocument/2006/relationships/oleObject" Target="../embeddings/oleObject29.bin"/><Relationship Id="rId10" Type="http://schemas.openxmlformats.org/officeDocument/2006/relationships/diagramColors" Target="../diagrams/colors15.xml"/><Relationship Id="rId4" Type="http://schemas.openxmlformats.org/officeDocument/2006/relationships/notesSlide" Target="../notesSlides/notesSlide25.xml"/><Relationship Id="rId9" Type="http://schemas.openxmlformats.org/officeDocument/2006/relationships/diagramQuickStyle" Target="../diagrams/quickStyle15.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3.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1.xml"/><Relationship Id="rId7" Type="http://schemas.openxmlformats.org/officeDocument/2006/relationships/diagramData" Target="../diagrams/data2.xml"/><Relationship Id="rId12"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image" Target="../media/image3.emf"/><Relationship Id="rId11" Type="http://schemas.microsoft.com/office/2007/relationships/diagramDrawing" Target="../diagrams/drawing2.xml"/><Relationship Id="rId5" Type="http://schemas.openxmlformats.org/officeDocument/2006/relationships/oleObject" Target="../embeddings/oleObject10.bin"/><Relationship Id="rId10" Type="http://schemas.openxmlformats.org/officeDocument/2006/relationships/diagramColors" Target="../diagrams/colors2.xml"/><Relationship Id="rId4" Type="http://schemas.openxmlformats.org/officeDocument/2006/relationships/notesSlide" Target="../notesSlides/notesSlide6.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1.xml"/><Relationship Id="rId7" Type="http://schemas.openxmlformats.org/officeDocument/2006/relationships/image" Target="../media/image13.png"/><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1.xml"/><Relationship Id="rId7" Type="http://schemas.openxmlformats.org/officeDocument/2006/relationships/diagramData" Target="../diagrams/data3.xml"/><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3.emf"/><Relationship Id="rId11" Type="http://schemas.microsoft.com/office/2007/relationships/diagramDrawing" Target="../diagrams/drawing3.xml"/><Relationship Id="rId5" Type="http://schemas.openxmlformats.org/officeDocument/2006/relationships/oleObject" Target="../embeddings/oleObject13.bin"/><Relationship Id="rId10" Type="http://schemas.openxmlformats.org/officeDocument/2006/relationships/diagramColors" Target="../diagrams/colors3.xml"/><Relationship Id="rId4" Type="http://schemas.openxmlformats.org/officeDocument/2006/relationships/notesSlide" Target="../notesSlides/notesSlide9.xml"/><Relationship Id="rId9"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46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70596" y="3113419"/>
            <a:ext cx="3851238" cy="461212"/>
          </a:xfrm>
          <a:prstGeom prst="rect">
            <a:avLst/>
          </a:prstGeom>
        </p:spPr>
        <p:txBody>
          <a:bodyPr vert="horz" lIns="274642" tIns="30516" rIns="152579" bIns="30516" rtlCol="0" anchor="ctr">
            <a:normAutofit fontScale="92500" lnSpcReduction="20000"/>
          </a:bodyPr>
          <a:lstStyle/>
          <a:p>
            <a:pPr defTabSz="844029">
              <a:spcBef>
                <a:spcPct val="0"/>
              </a:spcBef>
            </a:pPr>
            <a:r>
              <a:rPr lang="en-US" sz="3323" dirty="0">
                <a:solidFill>
                  <a:srgbClr val="0094C3"/>
                </a:solidFill>
                <a:latin typeface="Arial Narrow" pitchFamily="34" charset="0"/>
              </a:rPr>
              <a:t>MongoDB Introduction</a:t>
            </a:r>
          </a:p>
        </p:txBody>
      </p:sp>
    </p:spTree>
    <p:extLst>
      <p:ext uri="{BB962C8B-B14F-4D97-AF65-F5344CB8AC3E}">
        <p14:creationId xmlns:p14="http://schemas.microsoft.com/office/powerpoint/2010/main" val="11709728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38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424996"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Why </a:t>
            </a:r>
            <a:r>
              <a:rPr lang="en-US" sz="3200" dirty="0" smtClean="0">
                <a:solidFill>
                  <a:schemeClr val="tx2"/>
                </a:solidFill>
              </a:rPr>
              <a:t>MongoDB-</a:t>
            </a:r>
            <a:r>
              <a:rPr lang="en-US" sz="3200" dirty="0" smtClean="0">
                <a:solidFill>
                  <a:schemeClr val="tx2"/>
                </a:solidFill>
                <a:latin typeface="Arial Narrow" pitchFamily="34" charset="0"/>
              </a:rPr>
              <a:t>Where </a:t>
            </a:r>
            <a:r>
              <a:rPr lang="en-US" sz="3200" dirty="0">
                <a:solidFill>
                  <a:schemeClr val="tx2"/>
                </a:solidFill>
                <a:latin typeface="Arial Narrow" pitchFamily="34" charset="0"/>
              </a:rPr>
              <a:t>should you use </a:t>
            </a:r>
            <a:r>
              <a:rPr lang="en-US" sz="3200" dirty="0" smtClean="0">
                <a:solidFill>
                  <a:schemeClr val="tx2"/>
                </a:solidFill>
                <a:latin typeface="Arial Narrow" pitchFamily="34" charset="0"/>
              </a:rPr>
              <a:t>MongoDB</a:t>
            </a:r>
            <a:endParaRPr lang="en-US" sz="3200" dirty="0">
              <a:solidFill>
                <a:schemeClr val="tx2"/>
              </a:solidFill>
              <a:latin typeface="Arial Narrow" pitchFamily="34" charset="0"/>
            </a:endParaRPr>
          </a:p>
        </p:txBody>
      </p:sp>
      <p:graphicFrame>
        <p:nvGraphicFramePr>
          <p:cNvPr id="8" name="Diagram 7"/>
          <p:cNvGraphicFramePr/>
          <p:nvPr/>
        </p:nvGraphicFramePr>
        <p:xfrm>
          <a:off x="1524000" y="1557081"/>
          <a:ext cx="649458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4462993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48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17170" y="263769"/>
            <a:ext cx="892683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to </a:t>
            </a:r>
            <a:r>
              <a:rPr lang="en-US" sz="3200" dirty="0" smtClean="0">
                <a:solidFill>
                  <a:schemeClr val="tx2"/>
                </a:solidFill>
                <a:latin typeface="Arial" panose="020B0604020202020204" pitchFamily="34" charset="0"/>
                <a:cs typeface="Arial" panose="020B0604020202020204" pitchFamily="34" charset="0"/>
              </a:rPr>
              <a:t>SQL Terminology</a:t>
            </a:r>
            <a:endParaRPr lang="en-US" sz="3200" dirty="0">
              <a:solidFill>
                <a:schemeClr val="tx2"/>
              </a:solidFill>
              <a:latin typeface="Arial" panose="020B0604020202020204" pitchFamily="34" charset="0"/>
              <a:cs typeface="Arial" panose="020B0604020202020204" pitchFamily="34" charset="0"/>
            </a:endParaRPr>
          </a:p>
        </p:txBody>
      </p:sp>
      <p:graphicFrame>
        <p:nvGraphicFramePr>
          <p:cNvPr id="10" name="Content Placeholder 1"/>
          <p:cNvGraphicFramePr>
            <a:graphicFrameLocks noGrp="1"/>
          </p:cNvGraphicFramePr>
          <p:nvPr>
            <p:ph idx="4294967295"/>
            <p:extLst>
              <p:ext uri="{D42A27DB-BD31-4B8C-83A1-F6EECF244321}">
                <p14:modId xmlns:p14="http://schemas.microsoft.com/office/powerpoint/2010/main" val="204824393"/>
              </p:ext>
            </p:extLst>
          </p:nvPr>
        </p:nvGraphicFramePr>
        <p:xfrm>
          <a:off x="985105" y="1829460"/>
          <a:ext cx="7596554" cy="2747888"/>
        </p:xfrm>
        <a:graphic>
          <a:graphicData uri="http://schemas.openxmlformats.org/drawingml/2006/table">
            <a:tbl>
              <a:tblPr firstRow="1" bandRow="1">
                <a:tableStyleId>{5A111915-BE36-4E01-A7E5-04B1672EAD32}</a:tableStyleId>
              </a:tblPr>
              <a:tblGrid>
                <a:gridCol w="3798277"/>
                <a:gridCol w="3798277"/>
              </a:tblGrid>
              <a:tr h="342314">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a:r>
                        <a:rPr lang="en-US" sz="1700" dirty="0" smtClean="0"/>
                        <a:t>MongoDB</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a:r>
                        <a:rPr lang="en-US" sz="1700" dirty="0" smtClean="0"/>
                        <a:t>SQL</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atabas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atabas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collectio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tabl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ocument</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record</a:t>
                      </a:r>
                      <a:r>
                        <a:rPr lang="en-US" sz="1700" baseline="0" dirty="0" smtClean="0"/>
                        <a:t> (row)</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field</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colum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linking/embedded documents</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joi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primary key (_id</a:t>
                      </a:r>
                      <a:r>
                        <a:rPr lang="en-US" sz="1700" baseline="0" dirty="0" smtClean="0"/>
                        <a:t> field)</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primary key (user</a:t>
                      </a:r>
                      <a:r>
                        <a:rPr lang="en-US" sz="1700" baseline="0" dirty="0" smtClean="0"/>
                        <a:t> designated)</a:t>
                      </a:r>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index</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baseline="0" dirty="0" smtClean="0"/>
                        <a:t>index</a:t>
                      </a:r>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632519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59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600" dirty="0">
                <a:solidFill>
                  <a:schemeClr val="tx2"/>
                </a:solidFill>
                <a:latin typeface="Arial" panose="020B0604020202020204" pitchFamily="34" charset="0"/>
                <a:cs typeface="Arial" panose="020B0604020202020204" pitchFamily="34" charset="0"/>
              </a:rPr>
              <a:t>Why </a:t>
            </a:r>
            <a:r>
              <a:rPr lang="en-US" sz="3600" dirty="0" smtClean="0">
                <a:solidFill>
                  <a:schemeClr val="tx2"/>
                </a:solidFill>
                <a:latin typeface="Arial" panose="020B0604020202020204" pitchFamily="34" charset="0"/>
                <a:cs typeface="Arial" panose="020B0604020202020204" pitchFamily="34" charset="0"/>
              </a:rPr>
              <a:t>MongoDB-</a:t>
            </a:r>
            <a:r>
              <a:rPr lang="en-US" sz="3323" dirty="0" smtClean="0">
                <a:solidFill>
                  <a:schemeClr val="tx2"/>
                </a:solidFill>
                <a:latin typeface="Arial" panose="020B0604020202020204" pitchFamily="34" charset="0"/>
                <a:cs typeface="Arial" panose="020B0604020202020204" pitchFamily="34" charset="0"/>
              </a:rPr>
              <a:t>Important </a:t>
            </a:r>
            <a:r>
              <a:rPr lang="en-US" sz="3323" dirty="0">
                <a:solidFill>
                  <a:schemeClr val="tx2"/>
                </a:solidFill>
                <a:latin typeface="Arial" panose="020B0604020202020204" pitchFamily="34" charset="0"/>
                <a:cs typeface="Arial" panose="020B0604020202020204" pitchFamily="34" charset="0"/>
              </a:rPr>
              <a:t>Terminology</a:t>
            </a:r>
          </a:p>
        </p:txBody>
      </p:sp>
      <p:graphicFrame>
        <p:nvGraphicFramePr>
          <p:cNvPr id="7" name="Diagram 6"/>
          <p:cNvGraphicFramePr/>
          <p:nvPr/>
        </p:nvGraphicFramePr>
        <p:xfrm>
          <a:off x="582112" y="1615292"/>
          <a:ext cx="8207770" cy="42076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452805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79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endParaRPr lang="en-US" sz="3323" dirty="0" smtClean="0">
              <a:solidFill>
                <a:srgbClr val="0094C3"/>
              </a:solidFill>
              <a:latin typeface="Arial Narrow" pitchFamily="34" charset="0"/>
            </a:endParaRPr>
          </a:p>
          <a:p>
            <a:pPr defTabSz="844029">
              <a:spcBef>
                <a:spcPct val="0"/>
              </a:spcBef>
            </a:pPr>
            <a:r>
              <a:rPr lang="en-US" sz="3500" dirty="0">
                <a:solidFill>
                  <a:schemeClr val="tx2"/>
                </a:solidFill>
              </a:rPr>
              <a:t>Why </a:t>
            </a:r>
            <a:r>
              <a:rPr lang="en-US" sz="3500" dirty="0" smtClean="0">
                <a:solidFill>
                  <a:schemeClr val="tx2"/>
                </a:solidFill>
              </a:rPr>
              <a:t>MongoDB-Data </a:t>
            </a:r>
            <a:r>
              <a:rPr lang="en-US" sz="3500" dirty="0">
                <a:solidFill>
                  <a:schemeClr val="tx2"/>
                </a:solidFill>
              </a:rPr>
              <a:t>Model </a:t>
            </a:r>
          </a:p>
        </p:txBody>
      </p:sp>
      <p:graphicFrame>
        <p:nvGraphicFramePr>
          <p:cNvPr id="6" name="Diagram 5"/>
          <p:cNvGraphicFramePr/>
          <p:nvPr/>
        </p:nvGraphicFramePr>
        <p:xfrm>
          <a:off x="1295198" y="1484317"/>
          <a:ext cx="6810704"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772652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899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Data </a:t>
            </a:r>
            <a:r>
              <a:rPr lang="en-US" sz="3200" dirty="0">
                <a:solidFill>
                  <a:schemeClr val="tx2"/>
                </a:solidFill>
                <a:latin typeface="Arial" panose="020B0604020202020204" pitchFamily="34" charset="0"/>
                <a:cs typeface="Arial" panose="020B0604020202020204" pitchFamily="34" charset="0"/>
              </a:rPr>
              <a:t>Model </a:t>
            </a:r>
          </a:p>
        </p:txBody>
      </p:sp>
      <p:pic>
        <p:nvPicPr>
          <p:cNvPr id="7" name="Content Placeholder 6" descr="mongodb-operations-for-developers-7-638.jpg"/>
          <p:cNvPicPr>
            <a:picLocks noGrp="1" noChangeAspect="1"/>
          </p:cNvPicPr>
          <p:nvPr>
            <p:ph sz="half" idx="4294967295"/>
          </p:nvPr>
        </p:nvPicPr>
        <p:blipFill>
          <a:blip r:embed="rId7" cstate="print"/>
          <a:stretch>
            <a:fillRect/>
          </a:stretch>
        </p:blipFill>
        <p:spPr>
          <a:xfrm>
            <a:off x="389756" y="1830388"/>
            <a:ext cx="4192588" cy="3905250"/>
          </a:xfrm>
          <a:prstGeom prst="rect">
            <a:avLst/>
          </a:prstGeom>
          <a:ln>
            <a:noFill/>
          </a:ln>
          <a:effectLst>
            <a:outerShdw blurRad="190500" algn="tl" rotWithShape="0">
              <a:srgbClr val="000000">
                <a:alpha val="70000"/>
              </a:srgbClr>
            </a:outerShdw>
          </a:effectLst>
        </p:spPr>
      </p:pic>
      <p:pic>
        <p:nvPicPr>
          <p:cNvPr id="8" name="Content Placeholder 7" descr="mongodb-operations-for-developers-8-638.jpg"/>
          <p:cNvPicPr>
            <a:picLocks noGrp="1" noChangeAspect="1"/>
          </p:cNvPicPr>
          <p:nvPr>
            <p:ph sz="half" idx="4294967295"/>
          </p:nvPr>
        </p:nvPicPr>
        <p:blipFill>
          <a:blip r:embed="rId8" cstate="print"/>
          <a:stretch>
            <a:fillRect/>
          </a:stretch>
        </p:blipFill>
        <p:spPr>
          <a:xfrm>
            <a:off x="4949825" y="1828800"/>
            <a:ext cx="4194175" cy="390683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621710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00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323" dirty="0">
                <a:solidFill>
                  <a:srgbClr val="0094C3"/>
                </a:solidFill>
                <a:latin typeface="Arial Narrow" pitchFamily="34" charset="0"/>
              </a:rPr>
              <a:t>Data Model </a:t>
            </a:r>
          </a:p>
        </p:txBody>
      </p:sp>
      <p:pic>
        <p:nvPicPr>
          <p:cNvPr id="6" name="Picture 2"/>
          <p:cNvPicPr>
            <a:picLocks noChangeAspect="1" noChangeArrowheads="1"/>
          </p:cNvPicPr>
          <p:nvPr/>
        </p:nvPicPr>
        <p:blipFill>
          <a:blip r:embed="rId7" cstate="print"/>
          <a:srcRect/>
          <a:stretch>
            <a:fillRect/>
          </a:stretch>
        </p:blipFill>
        <p:spPr bwMode="auto">
          <a:xfrm>
            <a:off x="2095602" y="1404628"/>
            <a:ext cx="5020711" cy="449880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755595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10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The  </a:t>
            </a:r>
            <a:r>
              <a:rPr lang="en-US" sz="3200" dirty="0">
                <a:solidFill>
                  <a:schemeClr val="tx2"/>
                </a:solidFill>
                <a:latin typeface="Arial" panose="020B0604020202020204" pitchFamily="34" charset="0"/>
                <a:cs typeface="Arial" panose="020B0604020202020204" pitchFamily="34" charset="0"/>
              </a:rPr>
              <a:t>Basics of MongoDB</a:t>
            </a:r>
          </a:p>
        </p:txBody>
      </p:sp>
      <p:graphicFrame>
        <p:nvGraphicFramePr>
          <p:cNvPr id="7" name="Diagram 6"/>
          <p:cNvGraphicFramePr/>
          <p:nvPr/>
        </p:nvGraphicFramePr>
        <p:xfrm>
          <a:off x="858615" y="1658950"/>
          <a:ext cx="7378262"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018450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206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Database </a:t>
            </a:r>
            <a:r>
              <a:rPr lang="en-US" sz="3200" dirty="0">
                <a:solidFill>
                  <a:schemeClr val="tx2"/>
                </a:solidFill>
                <a:latin typeface="Arial" panose="020B0604020202020204" pitchFamily="34" charset="0"/>
                <a:cs typeface="Arial" panose="020B0604020202020204" pitchFamily="34" charset="0"/>
              </a:rPr>
              <a:t>Server and Client</a:t>
            </a:r>
          </a:p>
        </p:txBody>
      </p:sp>
      <p:graphicFrame>
        <p:nvGraphicFramePr>
          <p:cNvPr id="6" name="Diagram 5"/>
          <p:cNvGraphicFramePr/>
          <p:nvPr>
            <p:extLst>
              <p:ext uri="{D42A27DB-BD31-4B8C-83A1-F6EECF244321}">
                <p14:modId xmlns:p14="http://schemas.microsoft.com/office/powerpoint/2010/main" val="3322710060"/>
              </p:ext>
            </p:extLst>
          </p:nvPr>
        </p:nvGraphicFramePr>
        <p:xfrm>
          <a:off x="2309851" y="2272066"/>
          <a:ext cx="4020611" cy="98959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nvGraphicFramePr>
        <p:xfrm>
          <a:off x="2319552" y="3504234"/>
          <a:ext cx="4020611" cy="98959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4196721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6963"/>
          </a:xfrm>
        </p:spPr>
        <p:txBody>
          <a:bodyPr>
            <a:normAutofit fontScale="90000"/>
          </a:bodyPr>
          <a:lstStyle/>
          <a:p>
            <a:r>
              <a:rPr lang="en-US" sz="3200" dirty="0" smtClean="0"/>
              <a:t>  When </a:t>
            </a:r>
            <a:r>
              <a:rPr lang="en-US" sz="3200" dirty="0"/>
              <a:t>not to use</a:t>
            </a:r>
            <a:r>
              <a:rPr lang="en-US" dirty="0"/>
              <a:t/>
            </a:r>
            <a:br>
              <a:rPr lang="en-US" dirty="0"/>
            </a:br>
            <a:endParaRPr lang="en-US" dirty="0"/>
          </a:p>
        </p:txBody>
      </p:sp>
      <p:sp>
        <p:nvSpPr>
          <p:cNvPr id="3" name="Content Placeholder 2"/>
          <p:cNvSpPr>
            <a:spLocks noGrp="1"/>
          </p:cNvSpPr>
          <p:nvPr>
            <p:ph idx="1"/>
          </p:nvPr>
        </p:nvSpPr>
        <p:spPr>
          <a:xfrm>
            <a:off x="298516" y="1125416"/>
            <a:ext cx="7334736" cy="4003175"/>
          </a:xfrm>
        </p:spPr>
        <p:txBody>
          <a:bodyPr/>
          <a:lstStyle/>
          <a:p>
            <a:r>
              <a:rPr lang="en-US" dirty="0" smtClean="0"/>
              <a:t>Not suitable for Highly </a:t>
            </a:r>
            <a:r>
              <a:rPr lang="en-US" dirty="0"/>
              <a:t>transactional systems </a:t>
            </a:r>
            <a:r>
              <a:rPr lang="en-US" dirty="0" smtClean="0"/>
              <a:t>.</a:t>
            </a:r>
          </a:p>
          <a:p>
            <a:r>
              <a:rPr lang="en-US" dirty="0" smtClean="0"/>
              <a:t>Not suitable for where </a:t>
            </a:r>
            <a:r>
              <a:rPr lang="en-US" dirty="0"/>
              <a:t>the data model is designed up front.</a:t>
            </a:r>
          </a:p>
          <a:p>
            <a:r>
              <a:rPr lang="en-US" dirty="0"/>
              <a:t>Not </a:t>
            </a:r>
            <a:r>
              <a:rPr lang="en-US" dirty="0" smtClean="0"/>
              <a:t>suitable for  Tightly </a:t>
            </a:r>
            <a:r>
              <a:rPr lang="en-US" dirty="0"/>
              <a:t>coupled systems</a:t>
            </a:r>
          </a:p>
        </p:txBody>
      </p:sp>
    </p:spTree>
    <p:extLst>
      <p:ext uri="{BB962C8B-B14F-4D97-AF65-F5344CB8AC3E}">
        <p14:creationId xmlns:p14="http://schemas.microsoft.com/office/powerpoint/2010/main" val="24586360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2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lvl="0"/>
            <a:r>
              <a:rPr lang="en-US" sz="3200" dirty="0">
                <a:solidFill>
                  <a:schemeClr val="tx2"/>
                </a:solidFill>
                <a:latin typeface="Arial" panose="020B0604020202020204" pitchFamily="34" charset="0"/>
                <a:cs typeface="Arial" panose="020B0604020202020204" pitchFamily="34" charset="0"/>
              </a:rPr>
              <a:t>Documents, Collections and </a:t>
            </a:r>
            <a:r>
              <a:rPr lang="en-US" sz="3200" dirty="0" smtClean="0">
                <a:solidFill>
                  <a:schemeClr val="tx2"/>
                </a:solidFill>
                <a:latin typeface="Arial" panose="020B0604020202020204" pitchFamily="34" charset="0"/>
                <a:cs typeface="Arial" panose="020B0604020202020204" pitchFamily="34" charset="0"/>
              </a:rPr>
              <a:t>Databases-</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MongoDB </a:t>
            </a:r>
            <a:r>
              <a:rPr lang="en-US" sz="3200" dirty="0">
                <a:solidFill>
                  <a:schemeClr val="tx2"/>
                </a:solidFill>
                <a:latin typeface="Arial" panose="020B0604020202020204" pitchFamily="34" charset="0"/>
                <a:cs typeface="Arial" panose="020B0604020202020204" pitchFamily="34" charset="0"/>
              </a:rPr>
              <a:t>‘s Data Model</a:t>
            </a:r>
          </a:p>
        </p:txBody>
      </p:sp>
      <p:graphicFrame>
        <p:nvGraphicFramePr>
          <p:cNvPr id="7" name="Diagram 6"/>
          <p:cNvGraphicFramePr/>
          <p:nvPr/>
        </p:nvGraphicFramePr>
        <p:xfrm>
          <a:off x="1149670" y="1500247"/>
          <a:ext cx="7072653" cy="446821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377803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56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lvl="0"/>
            <a:r>
              <a:rPr lang="en-US" sz="3200" dirty="0">
                <a:solidFill>
                  <a:schemeClr val="tx2"/>
                </a:solidFill>
                <a:latin typeface="Arial" panose="020B0604020202020204" pitchFamily="34" charset="0"/>
                <a:cs typeface="Arial" panose="020B0604020202020204" pitchFamily="34" charset="0"/>
              </a:rPr>
              <a:t>Why MongoDB</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MongoDB </a:t>
            </a:r>
            <a:r>
              <a:rPr lang="en-US" sz="3200" dirty="0">
                <a:solidFill>
                  <a:schemeClr val="tx2"/>
                </a:solidFill>
                <a:latin typeface="Arial" panose="020B0604020202020204" pitchFamily="34" charset="0"/>
                <a:cs typeface="Arial" panose="020B0604020202020204" pitchFamily="34" charset="0"/>
              </a:rPr>
              <a:t>Philosophy</a:t>
            </a:r>
          </a:p>
        </p:txBody>
      </p:sp>
      <p:pic>
        <p:nvPicPr>
          <p:cNvPr id="6" name="Content Placeholder 6" descr="mongodb-operations-for-developers-4-638.jpg"/>
          <p:cNvPicPr>
            <a:picLocks noGrp="1" noChangeAspect="1"/>
          </p:cNvPicPr>
          <p:nvPr>
            <p:ph sz="half" idx="4294967295"/>
          </p:nvPr>
        </p:nvPicPr>
        <p:blipFill>
          <a:blip r:embed="rId7" cstate="print"/>
          <a:stretch>
            <a:fillRect/>
          </a:stretch>
        </p:blipFill>
        <p:spPr>
          <a:xfrm>
            <a:off x="337625" y="2105025"/>
            <a:ext cx="3914775" cy="2940050"/>
          </a:xfrm>
          <a:prstGeom prst="rect">
            <a:avLst/>
          </a:prstGeom>
          <a:ln>
            <a:noFill/>
          </a:ln>
          <a:effectLst>
            <a:outerShdw blurRad="190500" algn="tl" rotWithShape="0">
              <a:srgbClr val="000000">
                <a:alpha val="70000"/>
              </a:srgbClr>
            </a:outerShdw>
          </a:effectLst>
        </p:spPr>
      </p:pic>
      <p:pic>
        <p:nvPicPr>
          <p:cNvPr id="7" name="Content Placeholder 7" descr="mongodb-operations-for-developers-5-638.jpg"/>
          <p:cNvPicPr>
            <a:picLocks noChangeAspect="1"/>
          </p:cNvPicPr>
          <p:nvPr/>
        </p:nvPicPr>
        <p:blipFill>
          <a:blip r:embed="rId8" cstate="print"/>
          <a:stretch>
            <a:fillRect/>
          </a:stretch>
        </p:blipFill>
        <p:spPr>
          <a:xfrm>
            <a:off x="4883288" y="2104276"/>
            <a:ext cx="3916973" cy="294079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647775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308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Setting up </a:t>
            </a:r>
            <a:r>
              <a:rPr lang="en-US" sz="3200" dirty="0" smtClean="0">
                <a:solidFill>
                  <a:schemeClr val="tx2"/>
                </a:solidFill>
                <a:latin typeface="Arial" panose="020B0604020202020204" pitchFamily="34" charset="0"/>
                <a:cs typeface="Arial" panose="020B0604020202020204" pitchFamily="34" charset="0"/>
              </a:rPr>
              <a:t>MongoDB-Getting </a:t>
            </a:r>
            <a:r>
              <a:rPr lang="en-US" sz="3200" dirty="0">
                <a:solidFill>
                  <a:schemeClr val="tx2"/>
                </a:solidFill>
                <a:latin typeface="Arial" panose="020B0604020202020204" pitchFamily="34" charset="0"/>
                <a:cs typeface="Arial" panose="020B0604020202020204" pitchFamily="34" charset="0"/>
              </a:rPr>
              <a:t>Started</a:t>
            </a:r>
          </a:p>
        </p:txBody>
      </p:sp>
      <p:graphicFrame>
        <p:nvGraphicFramePr>
          <p:cNvPr id="7" name="Diagram 6"/>
          <p:cNvGraphicFramePr/>
          <p:nvPr>
            <p:extLst>
              <p:ext uri="{D42A27DB-BD31-4B8C-83A1-F6EECF244321}">
                <p14:modId xmlns:p14="http://schemas.microsoft.com/office/powerpoint/2010/main" val="2958121557"/>
              </p:ext>
            </p:extLst>
          </p:nvPr>
        </p:nvGraphicFramePr>
        <p:xfrm>
          <a:off x="553008" y="1527979"/>
          <a:ext cx="8396957" cy="430951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7524462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41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Setting up MongoDB-</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What </a:t>
            </a:r>
            <a:r>
              <a:rPr lang="en-US" sz="3200" dirty="0">
                <a:solidFill>
                  <a:schemeClr val="tx2"/>
                </a:solidFill>
                <a:latin typeface="Arial" panose="020B0604020202020204" pitchFamily="34" charset="0"/>
                <a:cs typeface="Arial" panose="020B0604020202020204" pitchFamily="34" charset="0"/>
              </a:rPr>
              <a:t>MongoDB does, How it works </a:t>
            </a:r>
          </a:p>
        </p:txBody>
      </p:sp>
      <p:graphicFrame>
        <p:nvGraphicFramePr>
          <p:cNvPr id="6" name="Diagram 5"/>
          <p:cNvGraphicFramePr/>
          <p:nvPr/>
        </p:nvGraphicFramePr>
        <p:xfrm>
          <a:off x="1014652" y="1571633"/>
          <a:ext cx="7484174"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89125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51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panose="020B0604020202020204" pitchFamily="34" charset="0"/>
                <a:cs typeface="Arial" panose="020B0604020202020204" pitchFamily="34" charset="0"/>
              </a:rPr>
              <a:t>Starting the MongoDB Server</a:t>
            </a:r>
          </a:p>
        </p:txBody>
      </p:sp>
      <p:graphicFrame>
        <p:nvGraphicFramePr>
          <p:cNvPr id="7" name="Diagram 6"/>
          <p:cNvGraphicFramePr/>
          <p:nvPr/>
        </p:nvGraphicFramePr>
        <p:xfrm>
          <a:off x="1465789" y="1557080"/>
          <a:ext cx="6567349"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976551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615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Narrow" pitchFamily="34" charset="0"/>
              </a:rPr>
              <a:t>Starting the MongoDB Server (contd.)</a:t>
            </a:r>
          </a:p>
        </p:txBody>
      </p:sp>
      <p:graphicFrame>
        <p:nvGraphicFramePr>
          <p:cNvPr id="6" name="Diagram 5"/>
          <p:cNvGraphicFramePr/>
          <p:nvPr>
            <p:extLst>
              <p:ext uri="{D42A27DB-BD31-4B8C-83A1-F6EECF244321}">
                <p14:modId xmlns:p14="http://schemas.microsoft.com/office/powerpoint/2010/main" val="2586545904"/>
              </p:ext>
            </p:extLst>
          </p:nvPr>
        </p:nvGraphicFramePr>
        <p:xfrm>
          <a:off x="1131074" y="1542528"/>
          <a:ext cx="7309541"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4642403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42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endParaRPr lang="en-US" sz="3323" dirty="0" smtClean="0">
              <a:solidFill>
                <a:srgbClr val="0094C3"/>
              </a:solidFill>
              <a:latin typeface="Arial Narrow" pitchFamily="34" charset="0"/>
            </a:endParaRPr>
          </a:p>
          <a:p>
            <a:pPr defTabSz="844029">
              <a:spcBef>
                <a:spcPct val="0"/>
              </a:spcBef>
            </a:pPr>
            <a:r>
              <a:rPr lang="en-US" sz="3500" dirty="0">
                <a:solidFill>
                  <a:schemeClr val="tx2"/>
                </a:solidFill>
                <a:latin typeface="Arial" panose="020B0604020202020204" pitchFamily="34" charset="0"/>
                <a:cs typeface="Arial" panose="020B0604020202020204" pitchFamily="34" charset="0"/>
              </a:rPr>
              <a:t>Using MongoDB Shell</a:t>
            </a:r>
          </a:p>
          <a:p>
            <a:pPr defTabSz="844029">
              <a:spcBef>
                <a:spcPct val="0"/>
              </a:spcBef>
            </a:pPr>
            <a:endParaRPr lang="en-US" sz="3323" dirty="0">
              <a:solidFill>
                <a:srgbClr val="0094C3"/>
              </a:solidFill>
              <a:latin typeface="Arial Narrow" pitchFamily="34" charset="0"/>
            </a:endParaRPr>
          </a:p>
        </p:txBody>
      </p:sp>
      <p:sp>
        <p:nvSpPr>
          <p:cNvPr id="8" name="Content Placeholder 2"/>
          <p:cNvSpPr>
            <a:spLocks noGrp="1"/>
          </p:cNvSpPr>
          <p:nvPr>
            <p:ph sz="quarter" idx="4294967295"/>
          </p:nvPr>
        </p:nvSpPr>
        <p:spPr>
          <a:xfrm>
            <a:off x="773723" y="1538337"/>
            <a:ext cx="7923421" cy="4232275"/>
          </a:xfrm>
          <a:prstGeom prst="rect">
            <a:avLst/>
          </a:prstGeom>
          <a:solidFill>
            <a:srgbClr val="002060"/>
          </a:solidFill>
        </p:spPr>
        <p:txBody>
          <a:bodyPr anchor="ctr">
            <a:normAutofit/>
          </a:bodyPr>
          <a:lstStyle/>
          <a:p>
            <a:pPr marL="102579" indent="159731"/>
            <a:r>
              <a:rPr lang="en-US" sz="2400" dirty="0">
                <a:solidFill>
                  <a:schemeClr val="bg1"/>
                </a:solidFill>
              </a:rPr>
              <a:t>D:\set up\</a:t>
            </a:r>
            <a:r>
              <a:rPr lang="en-US" sz="2400" dirty="0">
                <a:solidFill>
                  <a:schemeClr val="bg1"/>
                </a:solidFill>
              </a:rPr>
              <a:t>mongodb</a:t>
            </a:r>
            <a:r>
              <a:rPr lang="en-US" sz="2400" dirty="0">
                <a:solidFill>
                  <a:schemeClr val="bg1"/>
                </a:solidFill>
              </a:rPr>
              <a:t>\bin&gt;mongo.exe</a:t>
            </a:r>
          </a:p>
          <a:p>
            <a:pPr marL="102579" indent="159731"/>
            <a:r>
              <a:rPr lang="en-US" sz="2400" dirty="0">
                <a:solidFill>
                  <a:schemeClr val="bg1"/>
                </a:solidFill>
              </a:rPr>
              <a:t>    </a:t>
            </a:r>
          </a:p>
          <a:p>
            <a:pPr marL="102579" indent="159731"/>
            <a:r>
              <a:rPr lang="en-US" sz="2400" dirty="0">
                <a:solidFill>
                  <a:schemeClr val="bg1"/>
                </a:solidFill>
              </a:rPr>
              <a:t>    MongoDB shell version: 2.2.0</a:t>
            </a:r>
          </a:p>
          <a:p>
            <a:pPr marL="102579" indent="159731"/>
            <a:r>
              <a:rPr lang="en-US" sz="2400" dirty="0">
                <a:solidFill>
                  <a:schemeClr val="bg1"/>
                </a:solidFill>
              </a:rPr>
              <a:t>    connecting to: test</a:t>
            </a:r>
          </a:p>
          <a:p>
            <a:pPr marL="102579" indent="159731"/>
            <a:r>
              <a:rPr lang="en-US" sz="2400" dirty="0">
                <a:solidFill>
                  <a:schemeClr val="bg1"/>
                </a:solidFill>
              </a:rPr>
              <a:t>    Welcome to the MongoDB shell </a:t>
            </a:r>
          </a:p>
        </p:txBody>
      </p:sp>
    </p:spTree>
    <p:extLst>
      <p:ext uri="{BB962C8B-B14F-4D97-AF65-F5344CB8AC3E}">
        <p14:creationId xmlns:p14="http://schemas.microsoft.com/office/powerpoint/2010/main" val="14750877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82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Creating and dropping </a:t>
            </a:r>
            <a:r>
              <a:rPr lang="en-US" sz="3200" dirty="0" smtClean="0">
                <a:solidFill>
                  <a:schemeClr val="tx2"/>
                </a:solidFill>
                <a:latin typeface="Arial" panose="020B0604020202020204" pitchFamily="34" charset="0"/>
                <a:cs typeface="Arial" panose="020B0604020202020204" pitchFamily="34" charset="0"/>
              </a:rPr>
              <a:t>database-</a:t>
            </a:r>
          </a:p>
        </p:txBody>
      </p:sp>
      <p:pic>
        <p:nvPicPr>
          <p:cNvPr id="7"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09091" y="1341714"/>
            <a:ext cx="5364440" cy="4626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ontent Placeholder 2"/>
          <p:cNvSpPr>
            <a:spLocks noGrp="1"/>
          </p:cNvSpPr>
          <p:nvPr>
            <p:ph sz="quarter" idx="4294967295"/>
          </p:nvPr>
        </p:nvSpPr>
        <p:spPr>
          <a:xfrm>
            <a:off x="112542" y="1538949"/>
            <a:ext cx="3289300" cy="4232275"/>
          </a:xfrm>
          <a:prstGeom prst="rect">
            <a:avLst/>
          </a:prstGeom>
          <a:solidFill>
            <a:srgbClr val="002060"/>
          </a:solidFill>
        </p:spPr>
        <p:txBody>
          <a:bodyPr anchor="ctr">
            <a:normAutofit fontScale="62500" lnSpcReduction="20000"/>
          </a:bodyPr>
          <a:lstStyle/>
          <a:p>
            <a:pPr marL="102579" indent="159731"/>
            <a:r>
              <a:rPr lang="en-US" sz="2400" dirty="0">
                <a:solidFill>
                  <a:schemeClr val="bg1"/>
                </a:solidFill>
              </a:rPr>
              <a:t>D&gt;mongo</a:t>
            </a:r>
          </a:p>
          <a:p>
            <a:pPr marL="102579" indent="159731"/>
            <a:endParaRPr lang="en-US" sz="2400" dirty="0">
              <a:solidFill>
                <a:schemeClr val="bg1"/>
              </a:solidFill>
            </a:endParaRPr>
          </a:p>
          <a:p>
            <a:pPr marL="102579" indent="159731"/>
            <a:r>
              <a:rPr lang="en-US" sz="2400" dirty="0">
                <a:solidFill>
                  <a:schemeClr val="bg1"/>
                </a:solidFill>
              </a:rPr>
              <a:t>&gt;help()</a:t>
            </a:r>
          </a:p>
          <a:p>
            <a:pPr marL="102579" indent="159731"/>
            <a:r>
              <a:rPr lang="en-US" sz="2400" dirty="0">
                <a:solidFill>
                  <a:schemeClr val="bg1"/>
                </a:solidFill>
              </a:rPr>
              <a:t/>
            </a:r>
            <a:br>
              <a:rPr lang="en-US" sz="2400" dirty="0">
                <a:solidFill>
                  <a:schemeClr val="bg1"/>
                </a:solidFill>
              </a:rPr>
            </a:br>
            <a:r>
              <a:rPr lang="en-US" sz="2400" dirty="0">
                <a:solidFill>
                  <a:schemeClr val="bg1"/>
                </a:solidFill>
              </a:rPr>
              <a:t>   &gt;show </a:t>
            </a:r>
            <a:r>
              <a:rPr lang="en-US" sz="2400" dirty="0">
                <a:solidFill>
                  <a:schemeClr val="bg1"/>
                </a:solidFill>
              </a:rPr>
              <a:t>dbs</a:t>
            </a:r>
            <a:endParaRPr lang="en-US" sz="2400" dirty="0">
              <a:solidFill>
                <a:schemeClr val="bg1"/>
              </a:solidFill>
            </a:endParaRPr>
          </a:p>
          <a:p>
            <a:pPr marL="102579" indent="159731"/>
            <a:endParaRPr lang="en-US" sz="2400" dirty="0">
              <a:solidFill>
                <a:schemeClr val="bg1"/>
              </a:solidFill>
            </a:endParaRPr>
          </a:p>
          <a:p>
            <a:pPr marL="102579" indent="159731"/>
            <a:r>
              <a:rPr lang="en-US" sz="2400" dirty="0">
                <a:solidFill>
                  <a:schemeClr val="bg1"/>
                </a:solidFill>
              </a:rPr>
              <a:t>&gt;use &lt;</a:t>
            </a:r>
            <a:r>
              <a:rPr lang="en-US" sz="2400" dirty="0">
                <a:solidFill>
                  <a:schemeClr val="bg1"/>
                </a:solidFill>
              </a:rPr>
              <a:t>dbname</a:t>
            </a:r>
            <a:r>
              <a:rPr lang="en-US" sz="2400" dirty="0">
                <a:solidFill>
                  <a:schemeClr val="bg1"/>
                </a:solidFill>
              </a:rPr>
              <a:t>&gt;</a:t>
            </a:r>
          </a:p>
          <a:p>
            <a:pPr marL="102579" indent="159731"/>
            <a:r>
              <a:rPr lang="en-US" sz="2400" dirty="0">
                <a:solidFill>
                  <a:schemeClr val="bg1"/>
                </a:solidFill>
              </a:rPr>
              <a:t/>
            </a:r>
            <a:br>
              <a:rPr lang="en-US" sz="2400" dirty="0">
                <a:solidFill>
                  <a:schemeClr val="bg1"/>
                </a:solidFill>
              </a:rPr>
            </a:br>
            <a:r>
              <a:rPr lang="en-US" sz="2400" dirty="0">
                <a:solidFill>
                  <a:schemeClr val="bg1"/>
                </a:solidFill>
              </a:rPr>
              <a:t>   &gt;show collections</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findOne</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find</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help</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help</a:t>
            </a:r>
            <a:r>
              <a:rPr lang="en-US" sz="2400" dirty="0">
                <a:solidFill>
                  <a:schemeClr val="bg1"/>
                </a:solidFill>
              </a:rPr>
              <a:t>()</a:t>
            </a:r>
          </a:p>
        </p:txBody>
      </p:sp>
    </p:spTree>
    <p:extLst>
      <p:ext uri="{BB962C8B-B14F-4D97-AF65-F5344CB8AC3E}">
        <p14:creationId xmlns:p14="http://schemas.microsoft.com/office/powerpoint/2010/main" val="34026129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sz="3200" dirty="0" smtClean="0"/>
              <a:t>  </a:t>
            </a:r>
            <a:r>
              <a:rPr lang="en-US" sz="3600" dirty="0">
                <a:latin typeface="Arial" panose="020B0604020202020204" pitchFamily="34" charset="0"/>
                <a:cs typeface="Arial" panose="020B0604020202020204" pitchFamily="34" charset="0"/>
              </a:rPr>
              <a:t>Creating and dropping collections</a:t>
            </a:r>
          </a:p>
        </p:txBody>
      </p:sp>
      <p:sp>
        <p:nvSpPr>
          <p:cNvPr id="4" name="Content Placeholder 3"/>
          <p:cNvSpPr>
            <a:spLocks noGrp="1"/>
          </p:cNvSpPr>
          <p:nvPr>
            <p:ph idx="1"/>
          </p:nvPr>
        </p:nvSpPr>
        <p:spPr>
          <a:xfrm>
            <a:off x="447106" y="4594860"/>
            <a:ext cx="7531034" cy="1323316"/>
          </a:xfrm>
        </p:spPr>
        <p:txBody>
          <a:bodyPr>
            <a:normAutofit/>
          </a:bodyPr>
          <a:lstStyle/>
          <a:p>
            <a:endParaRPr lang="en-US" dirty="0" smtClean="0"/>
          </a:p>
          <a:p>
            <a:pPr marL="0" indent="0">
              <a:buNone/>
            </a:pPr>
            <a:r>
              <a:rPr lang="en-US" dirty="0" smtClean="0"/>
              <a:t>	</a:t>
            </a:r>
            <a:endParaRPr lang="en-US" dirty="0"/>
          </a:p>
          <a:p>
            <a:pPr marL="0" indent="0">
              <a:buNone/>
            </a:pPr>
            <a:r>
              <a:rPr lang="en-US" dirty="0" smtClean="0"/>
              <a:t>&gt; </a:t>
            </a:r>
            <a:r>
              <a:rPr lang="en-US" dirty="0"/>
              <a:t>db.createCollection</a:t>
            </a:r>
            <a:r>
              <a:rPr lang="en-US" dirty="0"/>
              <a:t>("employees")</a:t>
            </a:r>
            <a:endParaRPr lang="en-US" dirty="0" smtClean="0"/>
          </a:p>
          <a:p>
            <a:endParaRPr lang="en-US" dirty="0"/>
          </a:p>
          <a:p>
            <a:endParaRPr lang="en-US" dirty="0" smtClean="0"/>
          </a:p>
          <a:p>
            <a:endParaRPr lang="en-US" dirty="0"/>
          </a:p>
          <a:p>
            <a:endParaRPr lang="en-US" dirty="0" smtClean="0"/>
          </a:p>
        </p:txBody>
      </p:sp>
      <p:grpSp>
        <p:nvGrpSpPr>
          <p:cNvPr id="6" name="Group 5"/>
          <p:cNvGrpSpPr/>
          <p:nvPr/>
        </p:nvGrpSpPr>
        <p:grpSpPr>
          <a:xfrm>
            <a:off x="3181770" y="2228850"/>
            <a:ext cx="4526280" cy="1371600"/>
            <a:chOff x="3810420" y="1097280"/>
            <a:chExt cx="4526280" cy="1371600"/>
          </a:xfrm>
        </p:grpSpPr>
        <p:sp>
          <p:nvSpPr>
            <p:cNvPr id="3" name="Rectangular Callout 2"/>
            <p:cNvSpPr/>
            <p:nvPr/>
          </p:nvSpPr>
          <p:spPr>
            <a:xfrm>
              <a:off x="3810420" y="1097280"/>
              <a:ext cx="4526280" cy="1371600"/>
            </a:xfrm>
            <a:prstGeom prst="wedgeRectCallout">
              <a:avLst>
                <a:gd name="adj1" fmla="val -46369"/>
                <a:gd name="adj2" fmla="val 16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3931920" y="1494766"/>
              <a:ext cx="3897630" cy="646331"/>
            </a:xfrm>
            <a:prstGeom prst="rect">
              <a:avLst/>
            </a:prstGeom>
            <a:noFill/>
          </p:spPr>
          <p:txBody>
            <a:bodyPr wrap="square" rtlCol="0">
              <a:spAutoFit/>
            </a:bodyPr>
            <a:lstStyle/>
            <a:p>
              <a:r>
                <a:rPr lang="en-US" dirty="0" smtClean="0"/>
                <a:t>This command insert employees collection in database</a:t>
              </a:r>
              <a:endParaRPr lang="en-US" dirty="0"/>
            </a:p>
          </p:txBody>
        </p:sp>
      </p:grpSp>
    </p:spTree>
    <p:extLst>
      <p:ext uri="{BB962C8B-B14F-4D97-AF65-F5344CB8AC3E}">
        <p14:creationId xmlns:p14="http://schemas.microsoft.com/office/powerpoint/2010/main" val="24474456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69862"/>
            <a:ext cx="8312649" cy="424029"/>
          </a:xfrm>
        </p:spPr>
        <p:txBody>
          <a:bodyPr>
            <a:normAutofit fontScale="90000"/>
          </a:bodyPr>
          <a:lstStyle/>
          <a:p>
            <a:pPr lvl="0"/>
            <a:r>
              <a:rPr lang="en-US" sz="3200" dirty="0" smtClean="0"/>
              <a:t>  </a:t>
            </a:r>
            <a:r>
              <a:rPr lang="en-US" sz="3600" dirty="0">
                <a:latin typeface="Arial" panose="020B0604020202020204" pitchFamily="34" charset="0"/>
                <a:cs typeface="Arial" panose="020B0604020202020204" pitchFamily="34" charset="0"/>
              </a:rPr>
              <a:t>DataTypes</a:t>
            </a:r>
            <a:endParaRPr lang="en-US" sz="3600" dirty="0">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298516" y="822960"/>
            <a:ext cx="8323934" cy="5315557"/>
          </a:xfrm>
        </p:spPr>
        <p:txBody>
          <a:bodyPr>
            <a:normAutofit/>
          </a:bodyPr>
          <a:lstStyle/>
          <a:p>
            <a:r>
              <a:rPr lang="en-US" sz="1400" b="1" dirty="0"/>
              <a:t>Integer</a:t>
            </a:r>
            <a:r>
              <a:rPr lang="en-US" sz="1400" dirty="0"/>
              <a:t> − This type is used to store a numerical value. Integer can be 32 bit or 64 bit depending upon your server.</a:t>
            </a:r>
          </a:p>
          <a:p>
            <a:r>
              <a:rPr lang="en-US" sz="1400" b="1" dirty="0"/>
              <a:t>Boolean</a:t>
            </a:r>
            <a:r>
              <a:rPr lang="en-US" sz="1400" dirty="0"/>
              <a:t> − This type is used to store a </a:t>
            </a:r>
            <a:r>
              <a:rPr lang="en-US" sz="1400" dirty="0"/>
              <a:t>boolean</a:t>
            </a:r>
            <a:r>
              <a:rPr lang="en-US" sz="1400" dirty="0"/>
              <a:t> (true/ false) value.</a:t>
            </a:r>
          </a:p>
          <a:p>
            <a:r>
              <a:rPr lang="en-US" sz="1400" b="1" dirty="0"/>
              <a:t>Double</a:t>
            </a:r>
            <a:r>
              <a:rPr lang="en-US" sz="1400" dirty="0"/>
              <a:t> − This type is used to store floating point values.</a:t>
            </a:r>
          </a:p>
          <a:p>
            <a:r>
              <a:rPr lang="en-US" sz="1400" b="1" dirty="0"/>
              <a:t>Min/ Max keys</a:t>
            </a:r>
            <a:r>
              <a:rPr lang="en-US" sz="1400" dirty="0"/>
              <a:t> − This type is used to compare a value against the lowest and highest BSON elements.</a:t>
            </a:r>
          </a:p>
          <a:p>
            <a:r>
              <a:rPr lang="en-US" sz="1400" b="1" dirty="0"/>
              <a:t>Arrays</a:t>
            </a:r>
            <a:r>
              <a:rPr lang="en-US" sz="1400" dirty="0"/>
              <a:t> − This type is used to store arrays or list or multiple values into one key.</a:t>
            </a:r>
          </a:p>
          <a:p>
            <a:r>
              <a:rPr lang="en-US" sz="1400" b="1" dirty="0"/>
              <a:t>Timestamp</a:t>
            </a:r>
            <a:r>
              <a:rPr lang="en-US" sz="1400" dirty="0"/>
              <a:t> − </a:t>
            </a:r>
            <a:r>
              <a:rPr lang="en-US" sz="1400" dirty="0"/>
              <a:t>ctimestamp</a:t>
            </a:r>
            <a:r>
              <a:rPr lang="en-US" sz="1400" dirty="0"/>
              <a:t>. This can be handy for recording when a document has been modified or added.</a:t>
            </a:r>
          </a:p>
          <a:p>
            <a:r>
              <a:rPr lang="en-US" sz="1400" b="1" dirty="0"/>
              <a:t>Object</a:t>
            </a:r>
            <a:r>
              <a:rPr lang="en-US" sz="1400" dirty="0"/>
              <a:t> − This datatype is used for embedded documents.</a:t>
            </a:r>
          </a:p>
          <a:p>
            <a:r>
              <a:rPr lang="en-US" sz="1400" b="1" dirty="0"/>
              <a:t>Null</a:t>
            </a:r>
            <a:r>
              <a:rPr lang="en-US" sz="1400" dirty="0"/>
              <a:t> − This type is used to store a Null value.</a:t>
            </a:r>
          </a:p>
          <a:p>
            <a:r>
              <a:rPr lang="en-US" sz="1400" b="1" dirty="0"/>
              <a:t>Symbol</a:t>
            </a:r>
            <a:r>
              <a:rPr lang="en-US" sz="1400" dirty="0"/>
              <a:t> − This datatype is used identically to a string; however, it's generally reserved for languages that use a specific symbol type.</a:t>
            </a:r>
          </a:p>
          <a:p>
            <a:r>
              <a:rPr lang="en-US" sz="1400" b="1" dirty="0"/>
              <a:t>Date </a:t>
            </a:r>
            <a:r>
              <a:rPr lang="en-US" sz="1400" dirty="0"/>
              <a:t>− This datatype is used to store the current date or time in UNIX time format. You can specify your own date time by creating object of Date and passing day, month, year into it.</a:t>
            </a:r>
          </a:p>
          <a:p>
            <a:r>
              <a:rPr lang="en-US" sz="1400" b="1" dirty="0"/>
              <a:t>Object ID</a:t>
            </a:r>
            <a:r>
              <a:rPr lang="en-US" sz="1400" dirty="0"/>
              <a:t> − This datatype is used to store the document’s ID.</a:t>
            </a:r>
          </a:p>
          <a:p>
            <a:r>
              <a:rPr lang="en-US" sz="1400" b="1" dirty="0"/>
              <a:t>Binary data</a:t>
            </a:r>
            <a:r>
              <a:rPr lang="en-US" sz="1400" dirty="0"/>
              <a:t> − This datatype is used to store binary data.</a:t>
            </a:r>
          </a:p>
          <a:p>
            <a:r>
              <a:rPr lang="en-US" sz="1400" b="1" dirty="0"/>
              <a:t>Code</a:t>
            </a:r>
            <a:r>
              <a:rPr lang="en-US" sz="1400" dirty="0"/>
              <a:t> − This datatype is used to store JavaScript code into the document.</a:t>
            </a:r>
          </a:p>
          <a:p>
            <a:r>
              <a:rPr lang="en-US" sz="1400" b="1" dirty="0"/>
              <a:t>Regular expression</a:t>
            </a:r>
            <a:r>
              <a:rPr lang="en-US" sz="1400" dirty="0"/>
              <a:t> − This datatype is used to store regular expression.</a:t>
            </a:r>
            <a:endParaRPr lang="en-US" sz="1400" dirty="0">
              <a:effectLst/>
            </a:endParaRPr>
          </a:p>
        </p:txBody>
      </p:sp>
    </p:spTree>
    <p:extLst>
      <p:ext uri="{BB962C8B-B14F-4D97-AF65-F5344CB8AC3E}">
        <p14:creationId xmlns:p14="http://schemas.microsoft.com/office/powerpoint/2010/main" val="3747213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92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323" dirty="0">
                <a:solidFill>
                  <a:srgbClr val="0094C3"/>
                </a:solidFill>
                <a:latin typeface="Arial Narrow" pitchFamily="34" charset="0"/>
              </a:rPr>
              <a:t>Summary</a:t>
            </a:r>
          </a:p>
        </p:txBody>
      </p:sp>
      <p:graphicFrame>
        <p:nvGraphicFramePr>
          <p:cNvPr id="8" name="Diagram 7"/>
          <p:cNvGraphicFramePr/>
          <p:nvPr>
            <p:extLst>
              <p:ext uri="{D42A27DB-BD31-4B8C-83A1-F6EECF244321}">
                <p14:modId xmlns:p14="http://schemas.microsoft.com/office/powerpoint/2010/main" val="1618717337"/>
              </p:ext>
            </p:extLst>
          </p:nvPr>
        </p:nvGraphicFramePr>
        <p:xfrm>
          <a:off x="1334813" y="1557081"/>
          <a:ext cx="636361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47484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670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panose="020B0604020202020204" pitchFamily="34" charset="0"/>
                <a:cs typeface="Arial" panose="020B0604020202020204" pitchFamily="34" charset="0"/>
              </a:rPr>
              <a:t>What is MongoDB</a:t>
            </a:r>
          </a:p>
        </p:txBody>
      </p:sp>
      <p:graphicFrame>
        <p:nvGraphicFramePr>
          <p:cNvPr id="9" name="Diagram 8"/>
          <p:cNvGraphicFramePr/>
          <p:nvPr>
            <p:extLst>
              <p:ext uri="{D42A27DB-BD31-4B8C-83A1-F6EECF244321}">
                <p14:modId xmlns:p14="http://schemas.microsoft.com/office/powerpoint/2010/main" val="237378096"/>
              </p:ext>
            </p:extLst>
          </p:nvPr>
        </p:nvGraphicFramePr>
        <p:xfrm>
          <a:off x="588429" y="1414198"/>
          <a:ext cx="7973157" cy="446649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3315994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772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a:t>
            </a:r>
          </a:p>
        </p:txBody>
      </p:sp>
      <p:grpSp>
        <p:nvGrpSpPr>
          <p:cNvPr id="37" name="Group 36"/>
          <p:cNvGrpSpPr/>
          <p:nvPr/>
        </p:nvGrpSpPr>
        <p:grpSpPr>
          <a:xfrm>
            <a:off x="777427" y="1558977"/>
            <a:ext cx="8091855" cy="4183909"/>
            <a:chOff x="700319" y="1608100"/>
            <a:chExt cx="8766176" cy="4532568"/>
          </a:xfrm>
        </p:grpSpPr>
        <p:sp>
          <p:nvSpPr>
            <p:cNvPr id="22" name="Rounded Rectangle 21"/>
            <p:cNvSpPr/>
            <p:nvPr/>
          </p:nvSpPr>
          <p:spPr>
            <a:xfrm>
              <a:off x="779695" y="1608100"/>
              <a:ext cx="8686800"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3" name="Rounded Rectangle 4"/>
            <p:cNvSpPr/>
            <p:nvPr/>
          </p:nvSpPr>
          <p:spPr>
            <a:xfrm>
              <a:off x="882882" y="1773641"/>
              <a:ext cx="1828800" cy="1032640"/>
            </a:xfrm>
            <a:prstGeom prst="rect">
              <a:avLst/>
            </a:prstGeom>
            <a:noFill/>
            <a:ln>
              <a:noFill/>
            </a:ln>
            <a:effectLst/>
          </p:spPr>
          <p:txBody>
            <a:bodyPr lIns="112542" tIns="112542" rIns="112542" bIns="112542" spcCol="1270" anchor="ctr"/>
            <a:lstStyle/>
            <a:p>
              <a:pPr algn="ctr" defTabSz="1313017">
                <a:lnSpc>
                  <a:spcPct val="90000"/>
                </a:lnSpc>
                <a:spcAft>
                  <a:spcPct val="35000"/>
                </a:spcAft>
                <a:defRPr/>
              </a:pPr>
              <a:r>
                <a:rPr lang="en-US" sz="1662" b="1" kern="0" dirty="0">
                  <a:solidFill>
                    <a:srgbClr val="000000">
                      <a:hueOff val="0"/>
                      <a:satOff val="0"/>
                      <a:lumOff val="0"/>
                      <a:alphaOff val="0"/>
                    </a:srgbClr>
                  </a:solidFill>
                  <a:latin typeface="Arial"/>
                </a:rPr>
                <a:t>General Purpose</a:t>
              </a:r>
            </a:p>
          </p:txBody>
        </p:sp>
        <p:sp>
          <p:nvSpPr>
            <p:cNvPr id="24" name="Rounded Rectangle 23"/>
            <p:cNvSpPr/>
            <p:nvPr/>
          </p:nvSpPr>
          <p:spPr>
            <a:xfrm>
              <a:off x="779695" y="3166392"/>
              <a:ext cx="8686800"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5" name="Rounded Rectangle 4"/>
            <p:cNvSpPr/>
            <p:nvPr/>
          </p:nvSpPr>
          <p:spPr>
            <a:xfrm>
              <a:off x="961710" y="3373832"/>
              <a:ext cx="1828800" cy="898635"/>
            </a:xfrm>
            <a:prstGeom prst="rect">
              <a:avLst/>
            </a:prstGeom>
            <a:noFill/>
            <a:ln>
              <a:noFill/>
            </a:ln>
            <a:effectLst/>
          </p:spPr>
          <p:txBody>
            <a:bodyPr lIns="112542" tIns="112542" rIns="112542" bIns="112542" spcCol="1270" anchor="ctr"/>
            <a:lstStyle/>
            <a:p>
              <a:pPr defTabSz="1313017">
                <a:lnSpc>
                  <a:spcPct val="90000"/>
                </a:lnSpc>
                <a:spcAft>
                  <a:spcPct val="35000"/>
                </a:spcAft>
                <a:defRPr/>
              </a:pPr>
              <a:r>
                <a:rPr lang="en-US" sz="1662" b="1" kern="0" dirty="0">
                  <a:solidFill>
                    <a:srgbClr val="000000">
                      <a:hueOff val="0"/>
                      <a:satOff val="0"/>
                      <a:lumOff val="0"/>
                      <a:alphaOff val="0"/>
                    </a:srgbClr>
                  </a:solidFill>
                  <a:latin typeface="Arial"/>
                </a:rPr>
                <a:t>Easy to Use</a:t>
              </a:r>
            </a:p>
          </p:txBody>
        </p:sp>
        <p:sp>
          <p:nvSpPr>
            <p:cNvPr id="26" name="Rounded Rectangle 25"/>
            <p:cNvSpPr/>
            <p:nvPr/>
          </p:nvSpPr>
          <p:spPr>
            <a:xfrm>
              <a:off x="700319" y="4742936"/>
              <a:ext cx="8743225"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7" name="Rounded Rectangle 26"/>
            <p:cNvSpPr/>
            <p:nvPr/>
          </p:nvSpPr>
          <p:spPr>
            <a:xfrm>
              <a:off x="7096357" y="1726342"/>
              <a:ext cx="1836738"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Sophisticated query language</a:t>
              </a:r>
            </a:p>
          </p:txBody>
        </p:sp>
        <p:sp>
          <p:nvSpPr>
            <p:cNvPr id="28" name="Rounded Rectangle 27"/>
            <p:cNvSpPr/>
            <p:nvPr/>
          </p:nvSpPr>
          <p:spPr>
            <a:xfrm>
              <a:off x="5043720" y="1726342"/>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Full featured indexes</a:t>
              </a:r>
            </a:p>
          </p:txBody>
        </p:sp>
        <p:sp>
          <p:nvSpPr>
            <p:cNvPr id="29" name="Rounded Rectangle 28"/>
            <p:cNvSpPr/>
            <p:nvPr/>
          </p:nvSpPr>
          <p:spPr>
            <a:xfrm>
              <a:off x="2951395" y="1726342"/>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Rich data model</a:t>
              </a:r>
            </a:p>
          </p:txBody>
        </p:sp>
        <p:sp>
          <p:nvSpPr>
            <p:cNvPr id="30" name="Rounded Rectangle 29"/>
            <p:cNvSpPr/>
            <p:nvPr/>
          </p:nvSpPr>
          <p:spPr>
            <a:xfrm>
              <a:off x="7096357" y="3264677"/>
              <a:ext cx="1836738"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Simple to setup and manage</a:t>
              </a:r>
            </a:p>
          </p:txBody>
        </p:sp>
        <p:sp>
          <p:nvSpPr>
            <p:cNvPr id="31" name="Rounded Rectangle 30"/>
            <p:cNvSpPr/>
            <p:nvPr/>
          </p:nvSpPr>
          <p:spPr>
            <a:xfrm>
              <a:off x="5043720" y="3264677"/>
              <a:ext cx="1836737"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Native language drivers in all popular languages</a:t>
              </a:r>
            </a:p>
          </p:txBody>
        </p:sp>
        <p:sp>
          <p:nvSpPr>
            <p:cNvPr id="32" name="Rounded Rectangle 31"/>
            <p:cNvSpPr/>
            <p:nvPr/>
          </p:nvSpPr>
          <p:spPr>
            <a:xfrm>
              <a:off x="2951395" y="3264677"/>
              <a:ext cx="1836737"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Easy mapping to object oriented code</a:t>
              </a:r>
            </a:p>
          </p:txBody>
        </p:sp>
        <p:sp>
          <p:nvSpPr>
            <p:cNvPr id="33" name="Rounded Rectangle 32"/>
            <p:cNvSpPr/>
            <p:nvPr/>
          </p:nvSpPr>
          <p:spPr>
            <a:xfrm>
              <a:off x="7096357" y="4817409"/>
              <a:ext cx="1836738"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Dynamically add / remove capacity with no downtime</a:t>
              </a:r>
            </a:p>
          </p:txBody>
        </p:sp>
        <p:sp>
          <p:nvSpPr>
            <p:cNvPr id="34" name="Rounded Rectangle 33"/>
            <p:cNvSpPr/>
            <p:nvPr/>
          </p:nvSpPr>
          <p:spPr>
            <a:xfrm>
              <a:off x="5043720" y="4817409"/>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smtClean="0">
                  <a:solidFill>
                    <a:sysClr val="windowText" lastClr="000000"/>
                  </a:solidFill>
                  <a:latin typeface="Arial"/>
                </a:rPr>
                <a:t>Auto-shading </a:t>
              </a:r>
              <a:r>
                <a:rPr lang="en-US" sz="1477" kern="0" dirty="0">
                  <a:solidFill>
                    <a:sysClr val="windowText" lastClr="000000"/>
                  </a:solidFill>
                  <a:latin typeface="Arial"/>
                </a:rPr>
                <a:t>built in</a:t>
              </a:r>
            </a:p>
          </p:txBody>
        </p:sp>
        <p:sp>
          <p:nvSpPr>
            <p:cNvPr id="35" name="Rounded Rectangle 34"/>
            <p:cNvSpPr/>
            <p:nvPr/>
          </p:nvSpPr>
          <p:spPr>
            <a:xfrm>
              <a:off x="2951395" y="4817409"/>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Operates at in-memory speed wherever possible</a:t>
              </a:r>
            </a:p>
          </p:txBody>
        </p:sp>
        <p:sp>
          <p:nvSpPr>
            <p:cNvPr id="36" name="Rounded Rectangle 4"/>
            <p:cNvSpPr/>
            <p:nvPr/>
          </p:nvSpPr>
          <p:spPr>
            <a:xfrm>
              <a:off x="779694" y="4959303"/>
              <a:ext cx="2042347" cy="10316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12542" tIns="112542" rIns="112542" bIns="112542" spcCol="1270" anchor="ctr"/>
            <a:lstStyle/>
            <a:p>
              <a:pPr defTabSz="1313017">
                <a:lnSpc>
                  <a:spcPct val="90000"/>
                </a:lnSpc>
                <a:spcAft>
                  <a:spcPct val="35000"/>
                </a:spcAft>
                <a:defRPr/>
              </a:pPr>
              <a:r>
                <a:rPr lang="en-US" sz="1662" b="1" dirty="0">
                  <a:solidFill>
                    <a:sysClr val="windowText" lastClr="000000"/>
                  </a:solidFill>
                </a:rPr>
                <a:t>Fast &amp; Scalable</a:t>
              </a:r>
            </a:p>
          </p:txBody>
        </p:sp>
      </p:grpSp>
    </p:spTree>
    <p:extLst>
      <p:ext uri="{BB962C8B-B14F-4D97-AF65-F5344CB8AC3E}">
        <p14:creationId xmlns:p14="http://schemas.microsoft.com/office/powerpoint/2010/main" val="12710869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87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Easy to Use</a:t>
            </a:r>
          </a:p>
        </p:txBody>
      </p:sp>
      <p:sp>
        <p:nvSpPr>
          <p:cNvPr id="8" name="Content Placeholder 2"/>
          <p:cNvSpPr>
            <a:spLocks noGrp="1"/>
          </p:cNvSpPr>
          <p:nvPr>
            <p:ph sz="quarter" idx="4294967295"/>
          </p:nvPr>
        </p:nvSpPr>
        <p:spPr>
          <a:xfrm>
            <a:off x="5072296" y="1453997"/>
            <a:ext cx="3697287" cy="4232275"/>
          </a:xfrm>
          <a:prstGeom prst="rect">
            <a:avLst/>
          </a:prstGeom>
          <a:solidFill>
            <a:srgbClr val="002060"/>
          </a:solidFill>
        </p:spPr>
        <p:txBody>
          <a:bodyPr anchor="ctr">
            <a:normAutofit fontScale="70000" lnSpcReduction="20000"/>
          </a:bodyPr>
          <a:lstStyle/>
          <a:p>
            <a:pPr marL="102579" indent="159731"/>
            <a:r>
              <a:rPr lang="en-US" sz="2400" dirty="0">
                <a:solidFill>
                  <a:schemeClr val="bg1"/>
                </a:solidFill>
              </a:rPr>
              <a:t>{ </a:t>
            </a:r>
          </a:p>
          <a:p>
            <a:pPr marL="102579" indent="159731"/>
            <a:r>
              <a:rPr lang="en-US" sz="2400" dirty="0">
                <a:solidFill>
                  <a:schemeClr val="bg1"/>
                </a:solidFill>
              </a:rPr>
              <a:t>  title: ‘MongoDB’,</a:t>
            </a:r>
          </a:p>
          <a:p>
            <a:pPr marL="102579" indent="159731"/>
            <a:r>
              <a:rPr lang="en-US" sz="2400" dirty="0">
                <a:solidFill>
                  <a:schemeClr val="bg1"/>
                </a:solidFill>
              </a:rPr>
              <a:t>  contributors: [ </a:t>
            </a:r>
          </a:p>
          <a:p>
            <a:pPr marL="102579" indent="159731"/>
            <a:r>
              <a:rPr lang="en-US" sz="2400" dirty="0">
                <a:solidFill>
                  <a:schemeClr val="bg1"/>
                </a:solidFill>
              </a:rPr>
              <a:t>    { name: ‘Eliot Horowitz’,</a:t>
            </a:r>
          </a:p>
          <a:p>
            <a:pPr marL="102579" indent="159731"/>
            <a:r>
              <a:rPr lang="en-US" sz="2400" dirty="0">
                <a:solidFill>
                  <a:schemeClr val="bg1"/>
                </a:solidFill>
              </a:rPr>
              <a:t>      email: ‘eliot@10gen.com’ },</a:t>
            </a:r>
          </a:p>
          <a:p>
            <a:pPr marL="102579" indent="159731"/>
            <a:r>
              <a:rPr lang="en-US" sz="2400" dirty="0">
                <a:solidFill>
                  <a:schemeClr val="bg1"/>
                </a:solidFill>
              </a:rPr>
              <a:t>    { name: ‘Dwight Merriman’,</a:t>
            </a:r>
          </a:p>
          <a:p>
            <a:pPr marL="102579" indent="159731"/>
            <a:r>
              <a:rPr lang="en-US" sz="2400" dirty="0">
                <a:solidFill>
                  <a:schemeClr val="bg1"/>
                </a:solidFill>
              </a:rPr>
              <a:t>      email: ‘dwight@10gen.com’ }</a:t>
            </a:r>
          </a:p>
          <a:p>
            <a:pPr marL="102579" indent="159731"/>
            <a:r>
              <a:rPr lang="en-US" sz="2400" dirty="0">
                <a:solidFill>
                  <a:schemeClr val="bg1"/>
                </a:solidFill>
              </a:rPr>
              <a:t>  ],</a:t>
            </a:r>
          </a:p>
          <a:p>
            <a:pPr marL="102579" indent="159731"/>
            <a:r>
              <a:rPr lang="en-US" sz="2400" dirty="0">
                <a:solidFill>
                  <a:schemeClr val="bg1"/>
                </a:solidFill>
              </a:rPr>
              <a:t>  model: { </a:t>
            </a:r>
          </a:p>
          <a:p>
            <a:pPr marL="102579" indent="159731"/>
            <a:r>
              <a:rPr lang="en-US" sz="2400" dirty="0">
                <a:solidFill>
                  <a:schemeClr val="bg1"/>
                </a:solidFill>
              </a:rPr>
              <a:t>     relational: false, </a:t>
            </a:r>
          </a:p>
          <a:p>
            <a:pPr marL="102579" indent="159731"/>
            <a:r>
              <a:rPr lang="en-US" sz="2400" dirty="0">
                <a:solidFill>
                  <a:schemeClr val="bg1"/>
                </a:solidFill>
              </a:rPr>
              <a:t>     awesome: true</a:t>
            </a:r>
          </a:p>
          <a:p>
            <a:pPr marL="102579" indent="159731"/>
            <a:r>
              <a:rPr lang="en-US" sz="2400" dirty="0">
                <a:solidFill>
                  <a:schemeClr val="bg1"/>
                </a:solidFill>
              </a:rPr>
              <a:t>  }</a:t>
            </a:r>
          </a:p>
          <a:p>
            <a:pPr marL="102579" indent="159731"/>
            <a:r>
              <a:rPr lang="en-US" sz="2400" dirty="0">
                <a:solidFill>
                  <a:schemeClr val="bg1"/>
                </a:solidFill>
              </a:rPr>
              <a:t>}</a:t>
            </a:r>
          </a:p>
        </p:txBody>
      </p:sp>
      <p:pic>
        <p:nvPicPr>
          <p:cNvPr id="9" name="Content Placeholder 5"/>
          <p:cNvPicPr>
            <a:picLocks noChangeAspect="1"/>
          </p:cNvPicPr>
          <p:nvPr/>
        </p:nvPicPr>
        <p:blipFill>
          <a:blip r:embed="rId7" cstate="print"/>
          <a:srcRect l="20885" r="20885"/>
          <a:stretch>
            <a:fillRect/>
          </a:stretch>
        </p:blipFill>
        <p:spPr bwMode="auto">
          <a:xfrm>
            <a:off x="698123" y="1479620"/>
            <a:ext cx="3398227" cy="4270550"/>
          </a:xfrm>
          <a:prstGeom prst="rect">
            <a:avLst/>
          </a:prstGeom>
          <a:ln>
            <a:noFill/>
          </a:ln>
          <a:effectLst>
            <a:outerShdw blurRad="190500" algn="tl" rotWithShape="0">
              <a:srgbClr val="000000">
                <a:alpha val="70000"/>
              </a:srgbClr>
            </a:outerShdw>
          </a:effectLst>
        </p:spPr>
      </p:pic>
      <p:sp>
        <p:nvSpPr>
          <p:cNvPr id="10" name="Right Arrow 9"/>
          <p:cNvSpPr/>
          <p:nvPr/>
        </p:nvSpPr>
        <p:spPr bwMode="auto">
          <a:xfrm>
            <a:off x="4096350" y="3295650"/>
            <a:ext cx="975946" cy="754673"/>
          </a:xfrm>
          <a:prstGeom prst="right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59346" tIns="29673" rIns="59346" bIns="29673"/>
          <a:lstStyle/>
          <a:p>
            <a:pPr algn="ctr" defTabSz="593475">
              <a:defRPr/>
            </a:pPr>
            <a:endParaRPr lang="en-US" sz="2769"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Tree>
    <p:extLst>
      <p:ext uri="{BB962C8B-B14F-4D97-AF65-F5344CB8AC3E}">
        <p14:creationId xmlns:p14="http://schemas.microsoft.com/office/powerpoint/2010/main" val="35391071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97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          Schema </a:t>
            </a:r>
            <a:r>
              <a:rPr lang="en-US" sz="3200" dirty="0">
                <a:solidFill>
                  <a:schemeClr val="tx2"/>
                </a:solidFill>
                <a:latin typeface="Arial" panose="020B0604020202020204" pitchFamily="34" charset="0"/>
                <a:cs typeface="Arial" panose="020B0604020202020204" pitchFamily="34" charset="0"/>
              </a:rPr>
              <a:t>Free</a:t>
            </a:r>
          </a:p>
        </p:txBody>
      </p:sp>
      <p:graphicFrame>
        <p:nvGraphicFramePr>
          <p:cNvPr id="7" name="Diagram 6"/>
          <p:cNvGraphicFramePr/>
          <p:nvPr/>
        </p:nvGraphicFramePr>
        <p:xfrm>
          <a:off x="1393025" y="1324236"/>
          <a:ext cx="6319951" cy="9623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27" name="Group 3"/>
          <p:cNvGrpSpPr>
            <a:grpSpLocks/>
          </p:cNvGrpSpPr>
          <p:nvPr/>
        </p:nvGrpSpPr>
        <p:grpSpPr bwMode="auto">
          <a:xfrm>
            <a:off x="1043152" y="2432134"/>
            <a:ext cx="7033846" cy="3510253"/>
            <a:chOff x="685800" y="2404533"/>
            <a:chExt cx="7620000" cy="3352800"/>
          </a:xfrm>
        </p:grpSpPr>
        <p:sp>
          <p:nvSpPr>
            <p:cNvPr id="28" name="Rounded Rectangle 27"/>
            <p:cNvSpPr/>
            <p:nvPr/>
          </p:nvSpPr>
          <p:spPr bwMode="auto">
            <a:xfrm>
              <a:off x="685800" y="2404533"/>
              <a:ext cx="7620000" cy="3352800"/>
            </a:xfrm>
            <a:prstGeom prst="roundRect">
              <a:avLst/>
            </a:prstGeom>
            <a:solidFill>
              <a:schemeClr val="accent5">
                <a:lumMod val="20000"/>
                <a:lumOff val="80000"/>
              </a:schemeClr>
            </a:solidFill>
            <a:ln w="25400" cap="flat" cmpd="sng" algn="ctr">
              <a:solidFill>
                <a:schemeClr val="accent5"/>
              </a:solidFill>
              <a:prstDash val="solid"/>
              <a:headEnd type="none" w="med" len="med"/>
              <a:tailEnd type="none" w="med" len="med"/>
            </a:ln>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pic>
          <p:nvPicPr>
            <p:cNvPr id="29" name="Picture 2"/>
            <p:cNvPicPr>
              <a:picLocks noChangeAspect="1" noChangeArrowheads="1"/>
            </p:cNvPicPr>
            <p:nvPr/>
          </p:nvPicPr>
          <p:blipFill>
            <a:blip r:embed="rId12" cstate="print"/>
            <a:srcRect l="2962" r="2962"/>
            <a:stretch>
              <a:fillRect/>
            </a:stretch>
          </p:blipFill>
          <p:spPr bwMode="auto">
            <a:xfrm>
              <a:off x="1219200" y="5257800"/>
              <a:ext cx="1107941" cy="392560"/>
            </a:xfrm>
            <a:prstGeom prst="rect">
              <a:avLst/>
            </a:prstGeom>
            <a:noFill/>
            <a:ln w="12700">
              <a:noFill/>
              <a:miter lim="800000"/>
              <a:headEnd/>
              <a:tailEnd/>
            </a:ln>
          </p:spPr>
        </p:pic>
        <p:grpSp>
          <p:nvGrpSpPr>
            <p:cNvPr id="30" name="Group 47"/>
            <p:cNvGrpSpPr>
              <a:grpSpLocks/>
            </p:cNvGrpSpPr>
            <p:nvPr/>
          </p:nvGrpSpPr>
          <p:grpSpPr bwMode="auto">
            <a:xfrm>
              <a:off x="1003300" y="2658534"/>
              <a:ext cx="5417119" cy="2608263"/>
              <a:chOff x="-1949844" y="1594521"/>
              <a:chExt cx="5051821" cy="1523497"/>
            </a:xfrm>
          </p:grpSpPr>
          <p:sp>
            <p:nvSpPr>
              <p:cNvPr id="44" name="Document 60"/>
              <p:cNvSpPr/>
              <p:nvPr/>
            </p:nvSpPr>
            <p:spPr bwMode="auto">
              <a:xfrm>
                <a:off x="-1949844" y="1594521"/>
                <a:ext cx="1905338" cy="1523497"/>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5" name="Rectangle 44"/>
              <p:cNvSpPr/>
              <p:nvPr/>
            </p:nvSpPr>
            <p:spPr>
              <a:xfrm>
                <a:off x="1158683" y="2743074"/>
                <a:ext cx="1943294" cy="287062"/>
              </a:xfrm>
              <a:prstGeom prst="rect">
                <a:avLst/>
              </a:prstGeom>
              <a:ln>
                <a:noFill/>
              </a:ln>
            </p:spPr>
            <p:txBody>
              <a:bodyPr lIns="59346" tIns="29673" rIns="59346" bIns="29673">
                <a:spAutoFit/>
              </a:bodyPr>
              <a:lstStyle/>
              <a:p>
                <a:pPr marL="25759" defTabSz="844083">
                  <a:defRPr/>
                </a:pPr>
                <a:endParaRPr lang="hu-HU" sz="1662" kern="0" dirty="0">
                  <a:ln>
                    <a:solidFill>
                      <a:srgbClr val="E65A0F">
                        <a:lumMod val="10000"/>
                      </a:srgbClr>
                    </a:solidFill>
                  </a:ln>
                  <a:solidFill>
                    <a:srgbClr val="000000"/>
                  </a:solidFill>
                  <a:latin typeface="Arial"/>
                </a:endParaRPr>
              </a:p>
              <a:p>
                <a:pPr marL="25759" defTabSz="844083">
                  <a:defRPr/>
                </a:pPr>
                <a:endParaRPr lang="hu-HU" sz="1292" kern="0" dirty="0">
                  <a:solidFill>
                    <a:sysClr val="windowText" lastClr="000000"/>
                  </a:solidFill>
                  <a:latin typeface="Arial"/>
                </a:endParaRPr>
              </a:p>
            </p:txBody>
          </p:sp>
        </p:grpSp>
        <p:grpSp>
          <p:nvGrpSpPr>
            <p:cNvPr id="31" name="Group 48"/>
            <p:cNvGrpSpPr>
              <a:grpSpLocks/>
            </p:cNvGrpSpPr>
            <p:nvPr/>
          </p:nvGrpSpPr>
          <p:grpSpPr bwMode="auto">
            <a:xfrm>
              <a:off x="3160713" y="2658534"/>
              <a:ext cx="2590433" cy="1516063"/>
              <a:chOff x="3200685" y="2895003"/>
              <a:chExt cx="2011324" cy="1434262"/>
            </a:xfrm>
          </p:grpSpPr>
          <p:sp>
            <p:nvSpPr>
              <p:cNvPr id="42" name="Document 58"/>
              <p:cNvSpPr/>
              <p:nvPr/>
            </p:nvSpPr>
            <p:spPr bwMode="auto">
              <a:xfrm>
                <a:off x="3200685" y="2895003"/>
                <a:ext cx="1905605" cy="1434262"/>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3" name="Rectangle 42"/>
              <p:cNvSpPr>
                <a:spLocks noChangeAspect="1"/>
              </p:cNvSpPr>
              <p:nvPr/>
            </p:nvSpPr>
            <p:spPr>
              <a:xfrm>
                <a:off x="3276604" y="2971799"/>
                <a:ext cx="1935405" cy="1106852"/>
              </a:xfrm>
              <a:prstGeom prst="rect">
                <a:avLst/>
              </a:prstGeom>
              <a:ln>
                <a:noFill/>
              </a:ln>
            </p:spPr>
            <p:txBody>
              <a:bodyPr lIns="59346" tIns="29673" rIns="59346" bIns="29673">
                <a:spAutoFit/>
              </a:bodyPr>
              <a:lstStyle/>
              <a:p>
                <a:pPr marL="24913" defTabSz="844083">
                  <a:defRPr/>
                </a:pPr>
                <a:r>
                  <a:rPr lang="en-US" sz="1477" kern="0" dirty="0">
                    <a:solidFill>
                      <a:sysClr val="windowText" lastClr="000000"/>
                    </a:solidFill>
                  </a:rPr>
                  <a:t>{name: “</a:t>
                </a:r>
                <a:r>
                  <a:rPr lang="en-US" sz="1477" kern="0" dirty="0">
                    <a:solidFill>
                      <a:sysClr val="windowText" lastClr="000000"/>
                    </a:solidFill>
                  </a:rPr>
                  <a:t>jeff</a:t>
                </a:r>
                <a:r>
                  <a:rPr lang="en-US" sz="1477" kern="0" dirty="0">
                    <a:solidFill>
                      <a:sysClr val="windowText" lastClr="000000"/>
                    </a:solidFill>
                  </a:rPr>
                  <a:t>”,</a:t>
                </a:r>
              </a:p>
              <a:p>
                <a:pPr marL="24913" defTabSz="844083">
                  <a:defRPr/>
                </a:pPr>
                <a:r>
                  <a:rPr lang="en-US" sz="1477" kern="0" dirty="0">
                    <a:solidFill>
                      <a:sysClr val="windowText" lastClr="000000"/>
                    </a:solidFill>
                  </a:rPr>
                  <a:t>  eyes: “blue”,</a:t>
                </a:r>
              </a:p>
              <a:p>
                <a:pPr marL="24913" defTabSz="844083">
                  <a:defRPr/>
                </a:pPr>
                <a:r>
                  <a:rPr lang="hu-HU" sz="1477" kern="0" dirty="0">
                    <a:solidFill>
                      <a:sysClr val="windowText" lastClr="000000"/>
                    </a:solidFill>
                  </a:rPr>
                  <a:t>  loc: [40.7, 73.4],</a:t>
                </a:r>
                <a:endParaRPr lang="en-US" sz="1477" kern="0" dirty="0">
                  <a:solidFill>
                    <a:sysClr val="windowText" lastClr="000000"/>
                  </a:solidFill>
                </a:endParaRPr>
              </a:p>
              <a:p>
                <a:pPr marL="24913" defTabSz="844083">
                  <a:defRPr/>
                </a:pPr>
                <a:r>
                  <a:rPr lang="hu-HU" sz="1477" kern="0" dirty="0">
                    <a:solidFill>
                      <a:sysClr val="windowText" lastClr="000000"/>
                    </a:solidFill>
                  </a:rPr>
                  <a:t>  </a:t>
                </a:r>
                <a:r>
                  <a:rPr lang="en-US" sz="1477" kern="0" dirty="0">
                    <a:solidFill>
                      <a:sysClr val="windowText" lastClr="000000"/>
                    </a:solidFill>
                  </a:rPr>
                  <a:t>boss: “ben”</a:t>
                </a:r>
                <a:r>
                  <a:rPr lang="hu-HU" sz="1477" kern="0" dirty="0">
                    <a:solidFill>
                      <a:sysClr val="windowText" lastClr="000000"/>
                    </a:solidFill>
                  </a:rPr>
                  <a:t>}</a:t>
                </a:r>
              </a:p>
              <a:p>
                <a:pPr marL="25759" defTabSz="844083">
                  <a:defRPr/>
                </a:pPr>
                <a:endParaRPr lang="hu-HU" sz="1662" kern="0" dirty="0">
                  <a:solidFill>
                    <a:srgbClr val="000000"/>
                  </a:solidFill>
                  <a:latin typeface="Arial"/>
                </a:endParaRPr>
              </a:p>
            </p:txBody>
          </p:sp>
        </p:grpSp>
        <p:grpSp>
          <p:nvGrpSpPr>
            <p:cNvPr id="32" name="Group 49"/>
            <p:cNvGrpSpPr>
              <a:grpSpLocks/>
            </p:cNvGrpSpPr>
            <p:nvPr/>
          </p:nvGrpSpPr>
          <p:grpSpPr bwMode="auto">
            <a:xfrm>
              <a:off x="5746752" y="2658533"/>
              <a:ext cx="2406650" cy="1051295"/>
              <a:chOff x="5333723" y="2895109"/>
              <a:chExt cx="1968971" cy="814050"/>
            </a:xfrm>
          </p:grpSpPr>
          <p:sp>
            <p:nvSpPr>
              <p:cNvPr id="40" name="Document 56"/>
              <p:cNvSpPr/>
              <p:nvPr/>
            </p:nvSpPr>
            <p:spPr bwMode="auto">
              <a:xfrm>
                <a:off x="5333723" y="2895109"/>
                <a:ext cx="1905331" cy="787950"/>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1" name="Rectangle 40"/>
              <p:cNvSpPr/>
              <p:nvPr/>
            </p:nvSpPr>
            <p:spPr>
              <a:xfrm>
                <a:off x="5359699" y="2971323"/>
                <a:ext cx="1942995" cy="737836"/>
              </a:xfrm>
              <a:prstGeom prst="rect">
                <a:avLst/>
              </a:prstGeom>
              <a:ln>
                <a:noFill/>
              </a:ln>
            </p:spPr>
            <p:txBody>
              <a:bodyPr lIns="59346" tIns="29673" rIns="59346" bIns="29673">
                <a:spAutoFit/>
              </a:bodyPr>
              <a:lstStyle/>
              <a:p>
                <a:pPr marL="24913" defTabSz="844083">
                  <a:defRPr/>
                </a:pPr>
                <a:r>
                  <a:rPr lang="en-US" sz="1477" kern="0" dirty="0">
                    <a:solidFill>
                      <a:srgbClr val="000000"/>
                    </a:solidFill>
                    <a:latin typeface="Arial"/>
                  </a:rPr>
                  <a:t>{</a:t>
                </a:r>
                <a:r>
                  <a:rPr lang="en-US" sz="1477" kern="0" dirty="0">
                    <a:solidFill>
                      <a:sysClr val="windowText" lastClr="000000"/>
                    </a:solidFill>
                  </a:rPr>
                  <a:t>name: “</a:t>
                </a:r>
                <a:r>
                  <a:rPr lang="en-US" sz="1477" kern="0" dirty="0">
                    <a:solidFill>
                      <a:sysClr val="windowText" lastClr="000000"/>
                    </a:solidFill>
                  </a:rPr>
                  <a:t>brendan</a:t>
                </a:r>
                <a:r>
                  <a:rPr lang="en-US" sz="1477" kern="0" dirty="0">
                    <a:solidFill>
                      <a:sysClr val="windowText" lastClr="000000"/>
                    </a:solidFill>
                  </a:rPr>
                  <a:t>”,</a:t>
                </a:r>
              </a:p>
              <a:p>
                <a:pPr marL="24913" defTabSz="844083">
                  <a:defRPr/>
                </a:pPr>
                <a:r>
                  <a:rPr lang="hu-HU" sz="1477" kern="0" dirty="0">
                    <a:solidFill>
                      <a:sysClr val="windowText" lastClr="000000"/>
                    </a:solidFill>
                  </a:rPr>
                  <a:t>  </a:t>
                </a:r>
                <a:r>
                  <a:rPr lang="en-US" sz="1477" kern="0" dirty="0">
                    <a:solidFill>
                      <a:sysClr val="windowText" lastClr="000000"/>
                    </a:solidFill>
                  </a:rPr>
                  <a:t>aliases: </a:t>
                </a:r>
                <a:r>
                  <a:rPr lang="hu-HU" sz="1477" kern="0" dirty="0">
                    <a:solidFill>
                      <a:sysClr val="windowText" lastClr="000000"/>
                    </a:solidFill>
                  </a:rPr>
                  <a:t>[“el diablo”]}</a:t>
                </a:r>
              </a:p>
              <a:p>
                <a:pPr marL="25759" defTabSz="844083">
                  <a:defRPr/>
                </a:pPr>
                <a:endParaRPr lang="hu-HU" sz="1662" kern="0" dirty="0">
                  <a:solidFill>
                    <a:srgbClr val="000000"/>
                  </a:solidFill>
                  <a:latin typeface="Arial"/>
                </a:endParaRPr>
              </a:p>
            </p:txBody>
          </p:sp>
        </p:grpSp>
        <p:grpSp>
          <p:nvGrpSpPr>
            <p:cNvPr id="33" name="Group 50"/>
            <p:cNvGrpSpPr>
              <a:grpSpLocks/>
            </p:cNvGrpSpPr>
            <p:nvPr/>
          </p:nvGrpSpPr>
          <p:grpSpPr bwMode="auto">
            <a:xfrm>
              <a:off x="3107087" y="4259643"/>
              <a:ext cx="2607912" cy="1016000"/>
              <a:chOff x="5282308" y="2811919"/>
              <a:chExt cx="2020387" cy="786721"/>
            </a:xfrm>
          </p:grpSpPr>
          <p:sp>
            <p:nvSpPr>
              <p:cNvPr id="38" name="Document 54"/>
              <p:cNvSpPr/>
              <p:nvPr/>
            </p:nvSpPr>
            <p:spPr bwMode="auto">
              <a:xfrm>
                <a:off x="5282308" y="2811919"/>
                <a:ext cx="1905052" cy="786721"/>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39" name="Rectangle 38"/>
              <p:cNvSpPr/>
              <p:nvPr/>
            </p:nvSpPr>
            <p:spPr>
              <a:xfrm>
                <a:off x="5359401" y="2971801"/>
                <a:ext cx="1943294" cy="569723"/>
              </a:xfrm>
              <a:prstGeom prst="rect">
                <a:avLst/>
              </a:prstGeom>
              <a:ln>
                <a:noFill/>
              </a:ln>
            </p:spPr>
            <p:txBody>
              <a:bodyPr lIns="59346" tIns="29673" rIns="59346" bIns="29673">
                <a:spAutoFit/>
              </a:bodyPr>
              <a:lstStyle/>
              <a:p>
                <a:pPr marL="24913" defTabSz="844083">
                  <a:defRPr/>
                </a:pPr>
                <a:r>
                  <a:rPr lang="en-US" sz="1477" kern="0" dirty="0">
                    <a:solidFill>
                      <a:sysClr val="windowText" lastClr="000000"/>
                    </a:solidFill>
                  </a:rPr>
                  <a:t>{name: “ben”,</a:t>
                </a:r>
              </a:p>
              <a:p>
                <a:pPr marL="24913" defTabSz="844083">
                  <a:defRPr/>
                </a:pPr>
                <a:r>
                  <a:rPr lang="hu-HU" sz="1477" kern="0" dirty="0">
                    <a:solidFill>
                      <a:sysClr val="windowText" lastClr="000000"/>
                    </a:solidFill>
                  </a:rPr>
                  <a:t>  </a:t>
                </a:r>
                <a:r>
                  <a:rPr lang="en-US" sz="1477" kern="0" dirty="0">
                    <a:solidFill>
                      <a:sysClr val="windowText" lastClr="000000"/>
                    </a:solidFill>
                  </a:rPr>
                  <a:t>hat: </a:t>
                </a:r>
                <a:r>
                  <a:rPr lang="hu-HU" sz="1477" kern="0" dirty="0">
                    <a:solidFill>
                      <a:sysClr val="windowText" lastClr="000000"/>
                    </a:solidFill>
                  </a:rPr>
                  <a:t>”yes”}</a:t>
                </a:r>
              </a:p>
              <a:p>
                <a:pPr marL="25759" defTabSz="844083">
                  <a:defRPr/>
                </a:pPr>
                <a:endParaRPr lang="hu-HU" sz="1662" kern="0" dirty="0">
                  <a:solidFill>
                    <a:srgbClr val="000000"/>
                  </a:solidFill>
                  <a:latin typeface="Arial"/>
                </a:endParaRPr>
              </a:p>
            </p:txBody>
          </p:sp>
        </p:grpSp>
        <p:grpSp>
          <p:nvGrpSpPr>
            <p:cNvPr id="34" name="Group 51"/>
            <p:cNvGrpSpPr>
              <a:grpSpLocks/>
            </p:cNvGrpSpPr>
            <p:nvPr/>
          </p:nvGrpSpPr>
          <p:grpSpPr bwMode="auto">
            <a:xfrm>
              <a:off x="5694364" y="3927039"/>
              <a:ext cx="2503489" cy="1514474"/>
              <a:chOff x="3158221" y="3026610"/>
              <a:chExt cx="2002720" cy="1432758"/>
            </a:xfrm>
          </p:grpSpPr>
          <p:sp>
            <p:nvSpPr>
              <p:cNvPr id="36" name="Document 52"/>
              <p:cNvSpPr/>
              <p:nvPr/>
            </p:nvSpPr>
            <p:spPr bwMode="auto">
              <a:xfrm>
                <a:off x="3158221" y="3026610"/>
                <a:ext cx="1904933" cy="1432758"/>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37" name="Rectangle 36"/>
              <p:cNvSpPr>
                <a:spLocks noChangeAspect="1"/>
              </p:cNvSpPr>
              <p:nvPr/>
            </p:nvSpPr>
            <p:spPr>
              <a:xfrm>
                <a:off x="3225529" y="3151806"/>
                <a:ext cx="1935412" cy="1106852"/>
              </a:xfrm>
              <a:prstGeom prst="rect">
                <a:avLst/>
              </a:prstGeom>
              <a:ln>
                <a:noFill/>
              </a:ln>
            </p:spPr>
            <p:txBody>
              <a:bodyPr wrap="square" lIns="59346" tIns="29673" rIns="59346" bIns="29673">
                <a:spAutoFit/>
              </a:bodyPr>
              <a:lstStyle/>
              <a:p>
                <a:pPr marL="24913" defTabSz="844083">
                  <a:defRPr/>
                </a:pPr>
                <a:r>
                  <a:rPr lang="en-US" sz="1477" kern="0" dirty="0">
                    <a:solidFill>
                      <a:sysClr val="windowText" lastClr="000000"/>
                    </a:solidFill>
                  </a:rPr>
                  <a:t>{name: “matt”,</a:t>
                </a:r>
              </a:p>
              <a:p>
                <a:pPr marL="24913" defTabSz="844083">
                  <a:defRPr/>
                </a:pPr>
                <a:r>
                  <a:rPr lang="en-US" sz="1477" kern="0" dirty="0">
                    <a:solidFill>
                      <a:sysClr val="windowText" lastClr="000000"/>
                    </a:solidFill>
                  </a:rPr>
                  <a:t>  pizza: “</a:t>
                </a:r>
                <a:r>
                  <a:rPr lang="en-US" sz="1477" kern="0" dirty="0">
                    <a:solidFill>
                      <a:sysClr val="windowText" lastClr="000000"/>
                    </a:solidFill>
                  </a:rPr>
                  <a:t>DiGiorno</a:t>
                </a:r>
                <a:r>
                  <a:rPr lang="en-US" sz="1477" kern="0" dirty="0">
                    <a:solidFill>
                      <a:sysClr val="windowText" lastClr="000000"/>
                    </a:solidFill>
                  </a:rPr>
                  <a:t>”,</a:t>
                </a:r>
              </a:p>
              <a:p>
                <a:pPr marL="24913" defTabSz="844083">
                  <a:defRPr/>
                </a:pPr>
                <a:r>
                  <a:rPr lang="en-US" sz="1477" kern="0" dirty="0">
                    <a:solidFill>
                      <a:sysClr val="windowText" lastClr="000000"/>
                    </a:solidFill>
                  </a:rPr>
                  <a:t>  height: 72,</a:t>
                </a:r>
              </a:p>
              <a:p>
                <a:pPr marL="24913" defTabSz="844083">
                  <a:defRPr/>
                </a:pPr>
                <a:r>
                  <a:rPr lang="hu-HU" sz="1477" kern="0" dirty="0">
                    <a:solidFill>
                      <a:sysClr val="windowText" lastClr="000000"/>
                    </a:solidFill>
                  </a:rPr>
                  <a:t>  loc: [44.6, 71.3]}</a:t>
                </a:r>
              </a:p>
              <a:p>
                <a:pPr marL="25759" defTabSz="844083">
                  <a:defRPr/>
                </a:pPr>
                <a:endParaRPr lang="hu-HU" sz="1662" kern="0" dirty="0">
                  <a:solidFill>
                    <a:srgbClr val="000000"/>
                  </a:solidFill>
                  <a:latin typeface="Arial"/>
                </a:endParaRPr>
              </a:p>
            </p:txBody>
          </p:sp>
        </p:grpSp>
        <p:sp>
          <p:nvSpPr>
            <p:cNvPr id="35" name="Rectangle 15"/>
            <p:cNvSpPr>
              <a:spLocks noChangeArrowheads="1"/>
            </p:cNvSpPr>
            <p:nvPr/>
          </p:nvSpPr>
          <p:spPr bwMode="auto">
            <a:xfrm>
              <a:off x="1003300" y="2757575"/>
              <a:ext cx="1893207" cy="2042182"/>
            </a:xfrm>
            <a:prstGeom prst="rect">
              <a:avLst/>
            </a:prstGeom>
            <a:noFill/>
            <a:ln w="9525">
              <a:noFill/>
              <a:miter lim="800000"/>
              <a:headEnd/>
              <a:tailEnd/>
            </a:ln>
          </p:spPr>
          <p:txBody>
            <a:bodyPr wrap="square">
              <a:spAutoFit/>
            </a:bodyPr>
            <a:lstStyle/>
            <a:p>
              <a:pPr marL="24913" defTabSz="844083">
                <a:defRPr/>
              </a:pPr>
              <a:r>
                <a:rPr lang="en-US" sz="1477" kern="0" dirty="0">
                  <a:solidFill>
                    <a:sysClr val="windowText" lastClr="000000"/>
                  </a:solidFill>
                </a:rPr>
                <a:t>{name: “will”,</a:t>
              </a:r>
            </a:p>
            <a:p>
              <a:pPr marL="24913" defTabSz="844083">
                <a:defRPr/>
              </a:pPr>
              <a:r>
                <a:rPr lang="en-US" sz="1477" kern="0" dirty="0">
                  <a:solidFill>
                    <a:sysClr val="windowText" lastClr="000000"/>
                  </a:solidFill>
                </a:rPr>
                <a:t>  eyes: “blue”,</a:t>
              </a:r>
            </a:p>
            <a:p>
              <a:pPr marL="24913" defTabSz="844083">
                <a:defRPr/>
              </a:pPr>
              <a:r>
                <a:rPr lang="en-US" sz="1477" kern="0" dirty="0">
                  <a:solidFill>
                    <a:sysClr val="windowText" lastClr="000000"/>
                  </a:solidFill>
                </a:rPr>
                <a:t>  birthplace: “NY”,</a:t>
              </a:r>
            </a:p>
            <a:p>
              <a:pPr marL="24913" defTabSz="844083">
                <a:defRPr/>
              </a:pPr>
              <a:r>
                <a:rPr lang="hu-HU" sz="1477" kern="0" dirty="0">
                  <a:solidFill>
                    <a:sysClr val="windowText" lastClr="000000"/>
                  </a:solidFill>
                </a:rPr>
                <a:t>  aliases: [“bill”, “la ciacco”],</a:t>
              </a:r>
            </a:p>
            <a:p>
              <a:pPr marL="24913" defTabSz="844083">
                <a:defRPr/>
              </a:pPr>
              <a:r>
                <a:rPr lang="hu-HU" sz="1477" kern="0" dirty="0">
                  <a:solidFill>
                    <a:sysClr val="windowText" lastClr="000000"/>
                  </a:solidFill>
                </a:rPr>
                <a:t>  loc: [32.7, 63.4],</a:t>
              </a:r>
            </a:p>
            <a:p>
              <a:pPr marL="24913" defTabSz="844083">
                <a:defRPr/>
              </a:pPr>
              <a:r>
                <a:rPr lang="hu-HU" sz="1477" kern="0" dirty="0">
                  <a:solidFill>
                    <a:sysClr val="windowText" lastClr="000000"/>
                  </a:solidFill>
                </a:rPr>
                <a:t>  boss: ”ben”}</a:t>
              </a:r>
            </a:p>
          </p:txBody>
        </p:sp>
      </p:grpSp>
    </p:spTree>
    <p:extLst>
      <p:ext uri="{BB962C8B-B14F-4D97-AF65-F5344CB8AC3E}">
        <p14:creationId xmlns:p14="http://schemas.microsoft.com/office/powerpoint/2010/main" val="34789468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07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05740" y="263769"/>
            <a:ext cx="8491404"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Fast and Scalable</a:t>
            </a:r>
          </a:p>
        </p:txBody>
      </p:sp>
      <p:grpSp>
        <p:nvGrpSpPr>
          <p:cNvPr id="173" name="Group 172"/>
          <p:cNvGrpSpPr/>
          <p:nvPr/>
        </p:nvGrpSpPr>
        <p:grpSpPr>
          <a:xfrm>
            <a:off x="622287" y="2173984"/>
            <a:ext cx="7835065" cy="2602523"/>
            <a:chOff x="311526" y="2069399"/>
            <a:chExt cx="8487987" cy="2819400"/>
          </a:xfrm>
        </p:grpSpPr>
        <p:sp>
          <p:nvSpPr>
            <p:cNvPr id="90" name="Rounded Rectangle 89"/>
            <p:cNvSpPr/>
            <p:nvPr/>
          </p:nvSpPr>
          <p:spPr>
            <a:xfrm>
              <a:off x="7891463" y="3418774"/>
              <a:ext cx="903287" cy="995362"/>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1" name="Rounded Rectangle 90"/>
            <p:cNvSpPr/>
            <p:nvPr/>
          </p:nvSpPr>
          <p:spPr>
            <a:xfrm>
              <a:off x="6929438" y="3423536"/>
              <a:ext cx="903287" cy="996950"/>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2" name="Rounded Rectangle 91"/>
            <p:cNvSpPr/>
            <p:nvPr/>
          </p:nvSpPr>
          <p:spPr>
            <a:xfrm>
              <a:off x="5954713" y="3429886"/>
              <a:ext cx="903287" cy="996950"/>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3" name="TextBox 4"/>
            <p:cNvSpPr txBox="1">
              <a:spLocks noChangeArrowheads="1"/>
            </p:cNvSpPr>
            <p:nvPr/>
          </p:nvSpPr>
          <p:spPr bwMode="auto">
            <a:xfrm>
              <a:off x="311526" y="2121786"/>
              <a:ext cx="2403783" cy="346276"/>
            </a:xfrm>
            <a:prstGeom prst="rect">
              <a:avLst/>
            </a:prstGeom>
            <a:noFill/>
            <a:ln w="9525">
              <a:noFill/>
              <a:miter lim="800000"/>
              <a:headEnd/>
              <a:tailEnd/>
            </a:ln>
          </p:spPr>
          <p:txBody>
            <a:bodyPr wrap="none">
              <a:spAutoFit/>
            </a:bodyPr>
            <a:lstStyle/>
            <a:p>
              <a:pPr defTabSz="844083">
                <a:defRPr/>
              </a:pPr>
              <a:r>
                <a:rPr lang="en-US" sz="1477" b="1" kern="0" dirty="0">
                  <a:solidFill>
                    <a:sysClr val="windowText" lastClr="000000"/>
                  </a:solidFill>
                </a:rPr>
                <a:t>Better data locality</a:t>
              </a:r>
            </a:p>
          </p:txBody>
        </p:sp>
        <p:grpSp>
          <p:nvGrpSpPr>
            <p:cNvPr id="94" name="Group 21"/>
            <p:cNvGrpSpPr>
              <a:grpSpLocks/>
            </p:cNvGrpSpPr>
            <p:nvPr/>
          </p:nvGrpSpPr>
          <p:grpSpPr bwMode="auto">
            <a:xfrm>
              <a:off x="730250" y="2709161"/>
              <a:ext cx="285750" cy="1855788"/>
              <a:chOff x="3210925" y="2174875"/>
              <a:chExt cx="570831" cy="3711540"/>
            </a:xfrm>
          </p:grpSpPr>
          <p:sp>
            <p:nvSpPr>
              <p:cNvPr id="95" name="Rectangle 94"/>
              <p:cNvSpPr/>
              <p:nvPr/>
            </p:nvSpPr>
            <p:spPr>
              <a:xfrm>
                <a:off x="3210925" y="21748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6" name="Rectangle 95"/>
              <p:cNvSpPr/>
              <p:nvPr/>
            </p:nvSpPr>
            <p:spPr>
              <a:xfrm>
                <a:off x="3210925" y="2441572"/>
                <a:ext cx="570831" cy="263523"/>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7" name="Rectangle 96"/>
              <p:cNvSpPr/>
              <p:nvPr/>
            </p:nvSpPr>
            <p:spPr>
              <a:xfrm>
                <a:off x="3210925" y="2705096"/>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8" name="Rectangle 97"/>
              <p:cNvSpPr/>
              <p:nvPr/>
            </p:nvSpPr>
            <p:spPr>
              <a:xfrm>
                <a:off x="3210925" y="297179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9" name="Rectangle 98"/>
              <p:cNvSpPr/>
              <p:nvPr/>
            </p:nvSpPr>
            <p:spPr>
              <a:xfrm>
                <a:off x="3210925" y="323531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0" name="Rectangle 99"/>
              <p:cNvSpPr/>
              <p:nvPr/>
            </p:nvSpPr>
            <p:spPr>
              <a:xfrm>
                <a:off x="3210925" y="3502012"/>
                <a:ext cx="570831" cy="263523"/>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1" name="Rectangle 100"/>
              <p:cNvSpPr/>
              <p:nvPr/>
            </p:nvSpPr>
            <p:spPr>
              <a:xfrm>
                <a:off x="3210925" y="3765536"/>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2" name="Rectangle 101"/>
              <p:cNvSpPr/>
              <p:nvPr/>
            </p:nvSpPr>
            <p:spPr>
              <a:xfrm>
                <a:off x="3210925" y="403223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3" name="Rectangle 102"/>
              <p:cNvSpPr/>
              <p:nvPr/>
            </p:nvSpPr>
            <p:spPr>
              <a:xfrm>
                <a:off x="3210925" y="429575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4" name="Rectangle 103"/>
              <p:cNvSpPr/>
              <p:nvPr/>
            </p:nvSpPr>
            <p:spPr>
              <a:xfrm>
                <a:off x="3210925" y="456245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5" name="Rectangle 104"/>
              <p:cNvSpPr/>
              <p:nvPr/>
            </p:nvSpPr>
            <p:spPr>
              <a:xfrm>
                <a:off x="3210925" y="48259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6" name="Rectangle 105"/>
              <p:cNvSpPr/>
              <p:nvPr/>
            </p:nvSpPr>
            <p:spPr>
              <a:xfrm>
                <a:off x="3210925" y="5092673"/>
                <a:ext cx="570831" cy="263521"/>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7" name="Rectangle 106"/>
              <p:cNvSpPr/>
              <p:nvPr/>
            </p:nvSpPr>
            <p:spPr>
              <a:xfrm>
                <a:off x="3210925" y="5356194"/>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8" name="Rectangle 107"/>
              <p:cNvSpPr/>
              <p:nvPr/>
            </p:nvSpPr>
            <p:spPr>
              <a:xfrm>
                <a:off x="3210925" y="562289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grpSp>
          <p:nvGrpSpPr>
            <p:cNvPr id="109" name="Group 36"/>
            <p:cNvGrpSpPr>
              <a:grpSpLocks/>
            </p:cNvGrpSpPr>
            <p:nvPr/>
          </p:nvGrpSpPr>
          <p:grpSpPr bwMode="auto">
            <a:xfrm>
              <a:off x="1595438" y="2709161"/>
              <a:ext cx="285750" cy="1855788"/>
              <a:chOff x="7730182" y="2174875"/>
              <a:chExt cx="570831" cy="3711540"/>
            </a:xfrm>
          </p:grpSpPr>
          <p:sp>
            <p:nvSpPr>
              <p:cNvPr id="110" name="Rectangle 109"/>
              <p:cNvSpPr/>
              <p:nvPr/>
            </p:nvSpPr>
            <p:spPr>
              <a:xfrm>
                <a:off x="7730182" y="21748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1" name="Rectangle 110"/>
              <p:cNvSpPr/>
              <p:nvPr/>
            </p:nvSpPr>
            <p:spPr>
              <a:xfrm>
                <a:off x="7730182" y="244157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2" name="Rectangle 111"/>
              <p:cNvSpPr/>
              <p:nvPr/>
            </p:nvSpPr>
            <p:spPr>
              <a:xfrm>
                <a:off x="7730182" y="2705096"/>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3" name="Rectangle 112"/>
              <p:cNvSpPr/>
              <p:nvPr/>
            </p:nvSpPr>
            <p:spPr>
              <a:xfrm>
                <a:off x="7730182" y="297179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4" name="Rectangle 113"/>
              <p:cNvSpPr/>
              <p:nvPr/>
            </p:nvSpPr>
            <p:spPr>
              <a:xfrm>
                <a:off x="7730182" y="323531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5" name="Rectangle 114"/>
              <p:cNvSpPr/>
              <p:nvPr/>
            </p:nvSpPr>
            <p:spPr>
              <a:xfrm>
                <a:off x="7730182" y="3502012"/>
                <a:ext cx="570831" cy="263523"/>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6" name="Rectangle 115"/>
              <p:cNvSpPr/>
              <p:nvPr/>
            </p:nvSpPr>
            <p:spPr>
              <a:xfrm>
                <a:off x="7730182" y="3765536"/>
                <a:ext cx="570831" cy="266697"/>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7" name="Rectangle 116"/>
              <p:cNvSpPr/>
              <p:nvPr/>
            </p:nvSpPr>
            <p:spPr>
              <a:xfrm>
                <a:off x="7730182" y="4032233"/>
                <a:ext cx="570831" cy="263521"/>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8" name="Rectangle 117"/>
              <p:cNvSpPr/>
              <p:nvPr/>
            </p:nvSpPr>
            <p:spPr>
              <a:xfrm>
                <a:off x="7730182" y="429575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9" name="Rectangle 118"/>
              <p:cNvSpPr/>
              <p:nvPr/>
            </p:nvSpPr>
            <p:spPr>
              <a:xfrm>
                <a:off x="7730182" y="456245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0" name="Rectangle 119"/>
              <p:cNvSpPr/>
              <p:nvPr/>
            </p:nvSpPr>
            <p:spPr>
              <a:xfrm>
                <a:off x="7730182" y="48259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1" name="Rectangle 120"/>
              <p:cNvSpPr/>
              <p:nvPr/>
            </p:nvSpPr>
            <p:spPr>
              <a:xfrm>
                <a:off x="7730182" y="509267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2" name="Rectangle 121"/>
              <p:cNvSpPr/>
              <p:nvPr/>
            </p:nvSpPr>
            <p:spPr>
              <a:xfrm>
                <a:off x="7730182" y="535619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3" name="Rectangle 122"/>
              <p:cNvSpPr/>
              <p:nvPr/>
            </p:nvSpPr>
            <p:spPr>
              <a:xfrm>
                <a:off x="7730182" y="562289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sp>
          <p:nvSpPr>
            <p:cNvPr id="124" name="Right Arrow 123"/>
            <p:cNvSpPr/>
            <p:nvPr/>
          </p:nvSpPr>
          <p:spPr>
            <a:xfrm>
              <a:off x="1160463" y="3491799"/>
              <a:ext cx="325437" cy="265112"/>
            </a:xfrm>
            <a:prstGeom prst="rightArrow">
              <a:avLst/>
            </a:prstGeom>
            <a:gradFill rotWithShape="1">
              <a:gsLst>
                <a:gs pos="0">
                  <a:srgbClr val="D4CDB8">
                    <a:shade val="51000"/>
                    <a:satMod val="130000"/>
                  </a:srgbClr>
                </a:gs>
                <a:gs pos="80000">
                  <a:srgbClr val="D4CDB8">
                    <a:shade val="93000"/>
                    <a:satMod val="130000"/>
                  </a:srgbClr>
                </a:gs>
                <a:gs pos="100000">
                  <a:srgbClr val="D4CDB8">
                    <a:shade val="94000"/>
                    <a:satMod val="135000"/>
                  </a:srgbClr>
                </a:gs>
              </a:gsLst>
              <a:lin ang="16200000" scaled="0"/>
            </a:gradFill>
            <a:ln w="9525" cap="flat" cmpd="sng" algn="ctr">
              <a:solidFill>
                <a:srgbClr val="D4CDB8">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125" name="TextBox 38"/>
            <p:cNvSpPr txBox="1">
              <a:spLocks noChangeArrowheads="1"/>
            </p:cNvSpPr>
            <p:nvPr/>
          </p:nvSpPr>
          <p:spPr bwMode="auto">
            <a:xfrm>
              <a:off x="454025" y="4564949"/>
              <a:ext cx="1068348" cy="284731"/>
            </a:xfrm>
            <a:prstGeom prst="rect">
              <a:avLst/>
            </a:prstGeom>
            <a:noFill/>
            <a:ln w="9525">
              <a:noFill/>
              <a:miter lim="800000"/>
              <a:headEnd/>
              <a:tailEnd/>
            </a:ln>
          </p:spPr>
          <p:txBody>
            <a:bodyPr wrap="none">
              <a:spAutoFit/>
            </a:bodyPr>
            <a:lstStyle/>
            <a:p>
              <a:pPr defTabSz="844083">
                <a:defRPr/>
              </a:pPr>
              <a:r>
                <a:rPr lang="en-US" sz="1108" b="1" kern="0" dirty="0">
                  <a:solidFill>
                    <a:sysClr val="windowText" lastClr="000000"/>
                  </a:solidFill>
                </a:rPr>
                <a:t>Relational</a:t>
              </a:r>
            </a:p>
          </p:txBody>
        </p:sp>
        <p:sp>
          <p:nvSpPr>
            <p:cNvPr id="126" name="TextBox 39"/>
            <p:cNvSpPr txBox="1">
              <a:spLocks noChangeArrowheads="1"/>
            </p:cNvSpPr>
            <p:nvPr/>
          </p:nvSpPr>
          <p:spPr bwMode="auto">
            <a:xfrm>
              <a:off x="1300163" y="4566535"/>
              <a:ext cx="1021461" cy="284731"/>
            </a:xfrm>
            <a:prstGeom prst="rect">
              <a:avLst/>
            </a:prstGeom>
            <a:noFill/>
            <a:ln w="9525">
              <a:noFill/>
              <a:miter lim="800000"/>
              <a:headEnd/>
              <a:tailEnd/>
            </a:ln>
          </p:spPr>
          <p:txBody>
            <a:bodyPr wrap="none">
              <a:spAutoFit/>
            </a:bodyPr>
            <a:lstStyle/>
            <a:p>
              <a:pPr defTabSz="844083">
                <a:defRPr/>
              </a:pPr>
              <a:r>
                <a:rPr lang="en-US" sz="1108" b="1" kern="0" dirty="0">
                  <a:solidFill>
                    <a:sysClr val="windowText" lastClr="000000"/>
                  </a:solidFill>
                </a:rPr>
                <a:t>MongoDB</a:t>
              </a:r>
            </a:p>
          </p:txBody>
        </p:sp>
        <p:sp>
          <p:nvSpPr>
            <p:cNvPr id="127" name="TextBox 55"/>
            <p:cNvSpPr txBox="1">
              <a:spLocks noChangeArrowheads="1"/>
            </p:cNvSpPr>
            <p:nvPr/>
          </p:nvSpPr>
          <p:spPr bwMode="auto">
            <a:xfrm>
              <a:off x="2863850" y="2069399"/>
              <a:ext cx="1970088" cy="592524"/>
            </a:xfrm>
            <a:prstGeom prst="rect">
              <a:avLst/>
            </a:prstGeom>
            <a:noFill/>
            <a:ln w="9525">
              <a:noFill/>
              <a:miter lim="800000"/>
              <a:headEnd/>
              <a:tailEnd/>
            </a:ln>
          </p:spPr>
          <p:txBody>
            <a:bodyPr>
              <a:spAutoFit/>
            </a:bodyPr>
            <a:lstStyle/>
            <a:p>
              <a:pPr algn="ctr" defTabSz="844083">
                <a:defRPr/>
              </a:pPr>
              <a:r>
                <a:rPr lang="en-US" sz="1477" b="1" kern="0" dirty="0">
                  <a:solidFill>
                    <a:sysClr val="windowText" lastClr="000000"/>
                  </a:solidFill>
                </a:rPr>
                <a:t>In-Memory </a:t>
              </a:r>
            </a:p>
            <a:p>
              <a:pPr algn="ctr" defTabSz="844083">
                <a:defRPr/>
              </a:pPr>
              <a:r>
                <a:rPr lang="en-US" sz="1477" b="1" kern="0" dirty="0">
                  <a:solidFill>
                    <a:sysClr val="windowText" lastClr="000000"/>
                  </a:solidFill>
                </a:rPr>
                <a:t>Caching</a:t>
              </a:r>
            </a:p>
          </p:txBody>
        </p:sp>
        <p:grpSp>
          <p:nvGrpSpPr>
            <p:cNvPr id="128" name="Group 40"/>
            <p:cNvGrpSpPr>
              <a:grpSpLocks/>
            </p:cNvGrpSpPr>
            <p:nvPr/>
          </p:nvGrpSpPr>
          <p:grpSpPr bwMode="auto">
            <a:xfrm>
              <a:off x="3281363" y="2939349"/>
              <a:ext cx="285750" cy="1855787"/>
              <a:chOff x="7730182" y="2174875"/>
              <a:chExt cx="570831" cy="3711540"/>
            </a:xfrm>
          </p:grpSpPr>
          <p:sp>
            <p:nvSpPr>
              <p:cNvPr id="129" name="Rectangle 128"/>
              <p:cNvSpPr/>
              <p:nvPr/>
            </p:nvSpPr>
            <p:spPr>
              <a:xfrm>
                <a:off x="7730182" y="217487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0" name="Rectangle 129"/>
              <p:cNvSpPr/>
              <p:nvPr/>
            </p:nvSpPr>
            <p:spPr>
              <a:xfrm>
                <a:off x="7730182" y="244157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1" name="Rectangle 130"/>
              <p:cNvSpPr/>
              <p:nvPr/>
            </p:nvSpPr>
            <p:spPr>
              <a:xfrm>
                <a:off x="7730182" y="2705094"/>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2" name="Rectangle 131"/>
              <p:cNvSpPr/>
              <p:nvPr/>
            </p:nvSpPr>
            <p:spPr>
              <a:xfrm>
                <a:off x="7730182" y="297179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3" name="Rectangle 132"/>
              <p:cNvSpPr/>
              <p:nvPr/>
            </p:nvSpPr>
            <p:spPr>
              <a:xfrm>
                <a:off x="7730182" y="323531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4" name="Rectangle 133"/>
              <p:cNvSpPr/>
              <p:nvPr/>
            </p:nvSpPr>
            <p:spPr>
              <a:xfrm>
                <a:off x="7730182" y="350201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5" name="Rectangle 134"/>
              <p:cNvSpPr/>
              <p:nvPr/>
            </p:nvSpPr>
            <p:spPr>
              <a:xfrm>
                <a:off x="7730182" y="3765534"/>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6" name="Rectangle 135"/>
              <p:cNvSpPr/>
              <p:nvPr/>
            </p:nvSpPr>
            <p:spPr>
              <a:xfrm>
                <a:off x="7730182" y="403223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7" name="Rectangle 136"/>
              <p:cNvSpPr/>
              <p:nvPr/>
            </p:nvSpPr>
            <p:spPr>
              <a:xfrm>
                <a:off x="7730182" y="4295756"/>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8" name="Rectangle 137"/>
              <p:cNvSpPr/>
              <p:nvPr/>
            </p:nvSpPr>
            <p:spPr>
              <a:xfrm>
                <a:off x="7730182" y="456245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9" name="Rectangle 138"/>
              <p:cNvSpPr/>
              <p:nvPr/>
            </p:nvSpPr>
            <p:spPr>
              <a:xfrm>
                <a:off x="7730182" y="482597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0" name="Rectangle 139"/>
              <p:cNvSpPr/>
              <p:nvPr/>
            </p:nvSpPr>
            <p:spPr>
              <a:xfrm>
                <a:off x="7730182" y="509267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1" name="Rectangle 140"/>
              <p:cNvSpPr/>
              <p:nvPr/>
            </p:nvSpPr>
            <p:spPr>
              <a:xfrm>
                <a:off x="7730182" y="5356196"/>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2" name="Rectangle 141"/>
              <p:cNvSpPr/>
              <p:nvPr/>
            </p:nvSpPr>
            <p:spPr>
              <a:xfrm>
                <a:off x="7730182" y="562289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pic>
          <p:nvPicPr>
            <p:cNvPr id="143" name="Picture 56"/>
            <p:cNvPicPr>
              <a:picLocks noChangeAspect="1"/>
            </p:cNvPicPr>
            <p:nvPr/>
          </p:nvPicPr>
          <p:blipFill>
            <a:blip r:embed="rId7" cstate="print"/>
            <a:srcRect/>
            <a:stretch>
              <a:fillRect/>
            </a:stretch>
          </p:blipFill>
          <p:spPr bwMode="auto">
            <a:xfrm>
              <a:off x="4070350" y="2939349"/>
              <a:ext cx="517525" cy="517525"/>
            </a:xfrm>
            <a:prstGeom prst="rect">
              <a:avLst/>
            </a:prstGeom>
            <a:noFill/>
            <a:ln w="9525">
              <a:noFill/>
              <a:miter lim="800000"/>
              <a:headEnd/>
              <a:tailEnd/>
            </a:ln>
          </p:spPr>
        </p:pic>
        <p:pic>
          <p:nvPicPr>
            <p:cNvPr id="144" name="Picture 57"/>
            <p:cNvPicPr>
              <a:picLocks noChangeAspect="1"/>
            </p:cNvPicPr>
            <p:nvPr/>
          </p:nvPicPr>
          <p:blipFill>
            <a:blip r:embed="rId7" cstate="print"/>
            <a:srcRect/>
            <a:stretch>
              <a:fillRect/>
            </a:stretch>
          </p:blipFill>
          <p:spPr bwMode="auto">
            <a:xfrm>
              <a:off x="4070350" y="3144136"/>
              <a:ext cx="517525" cy="517525"/>
            </a:xfrm>
            <a:prstGeom prst="rect">
              <a:avLst/>
            </a:prstGeom>
            <a:noFill/>
            <a:ln w="9525">
              <a:noFill/>
              <a:miter lim="800000"/>
              <a:headEnd/>
              <a:tailEnd/>
            </a:ln>
          </p:spPr>
        </p:pic>
        <p:pic>
          <p:nvPicPr>
            <p:cNvPr id="145" name="Picture 58"/>
            <p:cNvPicPr>
              <a:picLocks noChangeAspect="1"/>
            </p:cNvPicPr>
            <p:nvPr/>
          </p:nvPicPr>
          <p:blipFill>
            <a:blip r:embed="rId7" cstate="print"/>
            <a:srcRect/>
            <a:stretch>
              <a:fillRect/>
            </a:stretch>
          </p:blipFill>
          <p:spPr bwMode="auto">
            <a:xfrm>
              <a:off x="4070350" y="3348924"/>
              <a:ext cx="517525" cy="517525"/>
            </a:xfrm>
            <a:prstGeom prst="rect">
              <a:avLst/>
            </a:prstGeom>
            <a:noFill/>
            <a:ln w="9525">
              <a:noFill/>
              <a:miter lim="800000"/>
              <a:headEnd/>
              <a:tailEnd/>
            </a:ln>
          </p:spPr>
        </p:pic>
        <p:pic>
          <p:nvPicPr>
            <p:cNvPr id="146" name="Picture 59"/>
            <p:cNvPicPr>
              <a:picLocks noChangeAspect="1"/>
            </p:cNvPicPr>
            <p:nvPr/>
          </p:nvPicPr>
          <p:blipFill>
            <a:blip r:embed="rId7" cstate="print"/>
            <a:srcRect/>
            <a:stretch>
              <a:fillRect/>
            </a:stretch>
          </p:blipFill>
          <p:spPr bwMode="auto">
            <a:xfrm>
              <a:off x="4070350" y="3553711"/>
              <a:ext cx="517525" cy="517525"/>
            </a:xfrm>
            <a:prstGeom prst="rect">
              <a:avLst/>
            </a:prstGeom>
            <a:noFill/>
            <a:ln w="9525">
              <a:noFill/>
              <a:miter lim="800000"/>
              <a:headEnd/>
              <a:tailEnd/>
            </a:ln>
          </p:spPr>
        </p:pic>
        <p:pic>
          <p:nvPicPr>
            <p:cNvPr id="147" name="Picture 60"/>
            <p:cNvPicPr>
              <a:picLocks noChangeAspect="1"/>
            </p:cNvPicPr>
            <p:nvPr/>
          </p:nvPicPr>
          <p:blipFill>
            <a:blip r:embed="rId7" cstate="print"/>
            <a:srcRect/>
            <a:stretch>
              <a:fillRect/>
            </a:stretch>
          </p:blipFill>
          <p:spPr bwMode="auto">
            <a:xfrm>
              <a:off x="4070350" y="3758499"/>
              <a:ext cx="517525" cy="517525"/>
            </a:xfrm>
            <a:prstGeom prst="rect">
              <a:avLst/>
            </a:prstGeom>
            <a:noFill/>
            <a:ln w="9525">
              <a:noFill/>
              <a:miter lim="800000"/>
              <a:headEnd/>
              <a:tailEnd/>
            </a:ln>
          </p:spPr>
        </p:pic>
        <p:pic>
          <p:nvPicPr>
            <p:cNvPr id="148" name="Picture 61"/>
            <p:cNvPicPr>
              <a:picLocks noChangeAspect="1"/>
            </p:cNvPicPr>
            <p:nvPr/>
          </p:nvPicPr>
          <p:blipFill>
            <a:blip r:embed="rId7" cstate="print"/>
            <a:srcRect/>
            <a:stretch>
              <a:fillRect/>
            </a:stretch>
          </p:blipFill>
          <p:spPr bwMode="auto">
            <a:xfrm>
              <a:off x="4070350" y="3963286"/>
              <a:ext cx="517525" cy="519113"/>
            </a:xfrm>
            <a:prstGeom prst="rect">
              <a:avLst/>
            </a:prstGeom>
            <a:noFill/>
            <a:ln w="9525">
              <a:noFill/>
              <a:miter lim="800000"/>
              <a:headEnd/>
              <a:tailEnd/>
            </a:ln>
          </p:spPr>
        </p:pic>
        <p:pic>
          <p:nvPicPr>
            <p:cNvPr id="149" name="Picture 62"/>
            <p:cNvPicPr>
              <a:picLocks noChangeAspect="1"/>
            </p:cNvPicPr>
            <p:nvPr/>
          </p:nvPicPr>
          <p:blipFill>
            <a:blip r:embed="rId7" cstate="print"/>
            <a:srcRect/>
            <a:stretch>
              <a:fillRect/>
            </a:stretch>
          </p:blipFill>
          <p:spPr bwMode="auto">
            <a:xfrm>
              <a:off x="4070350" y="4169661"/>
              <a:ext cx="517525" cy="517525"/>
            </a:xfrm>
            <a:prstGeom prst="rect">
              <a:avLst/>
            </a:prstGeom>
            <a:noFill/>
            <a:ln w="9525">
              <a:noFill/>
              <a:miter lim="800000"/>
              <a:headEnd/>
              <a:tailEnd/>
            </a:ln>
          </p:spPr>
        </p:pic>
        <p:cxnSp>
          <p:nvCxnSpPr>
            <p:cNvPr id="150" name="Straight Arrow Connector 149"/>
            <p:cNvCxnSpPr/>
            <p:nvPr/>
          </p:nvCxnSpPr>
          <p:spPr>
            <a:xfrm flipV="1">
              <a:off x="3676650" y="3198111"/>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1" name="Straight Arrow Connector 150"/>
            <p:cNvCxnSpPr/>
            <p:nvPr/>
          </p:nvCxnSpPr>
          <p:spPr>
            <a:xfrm flipV="1">
              <a:off x="3676650" y="3409249"/>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2" name="Straight Arrow Connector 151"/>
            <p:cNvCxnSpPr/>
            <p:nvPr/>
          </p:nvCxnSpPr>
          <p:spPr>
            <a:xfrm flipV="1">
              <a:off x="3676650" y="3620386"/>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3" name="Straight Arrow Connector 152"/>
            <p:cNvCxnSpPr/>
            <p:nvPr/>
          </p:nvCxnSpPr>
          <p:spPr>
            <a:xfrm flipV="1">
              <a:off x="3676650" y="3831524"/>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4" name="Straight Arrow Connector 153"/>
            <p:cNvCxnSpPr/>
            <p:nvPr/>
          </p:nvCxnSpPr>
          <p:spPr>
            <a:xfrm flipV="1">
              <a:off x="3676650" y="4042661"/>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5" name="Straight Arrow Connector 154"/>
            <p:cNvCxnSpPr/>
            <p:nvPr/>
          </p:nvCxnSpPr>
          <p:spPr>
            <a:xfrm flipV="1">
              <a:off x="3676650" y="4253799"/>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6" name="Straight Arrow Connector 155"/>
            <p:cNvCxnSpPr/>
            <p:nvPr/>
          </p:nvCxnSpPr>
          <p:spPr>
            <a:xfrm flipV="1">
              <a:off x="3676650" y="4464936"/>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sp>
          <p:nvSpPr>
            <p:cNvPr id="157" name="TextBox 71"/>
            <p:cNvSpPr txBox="1">
              <a:spLocks noChangeArrowheads="1"/>
            </p:cNvSpPr>
            <p:nvPr/>
          </p:nvSpPr>
          <p:spPr bwMode="auto">
            <a:xfrm>
              <a:off x="5749331" y="2215449"/>
              <a:ext cx="2987276" cy="346276"/>
            </a:xfrm>
            <a:prstGeom prst="rect">
              <a:avLst/>
            </a:prstGeom>
            <a:noFill/>
            <a:ln w="9525">
              <a:noFill/>
              <a:miter lim="800000"/>
              <a:headEnd/>
              <a:tailEnd/>
            </a:ln>
          </p:spPr>
          <p:txBody>
            <a:bodyPr wrap="none">
              <a:spAutoFit/>
            </a:bodyPr>
            <a:lstStyle/>
            <a:p>
              <a:pPr algn="ctr" defTabSz="844083">
                <a:defRPr/>
              </a:pPr>
              <a:r>
                <a:rPr lang="en-US" sz="1477" b="1" kern="0" dirty="0">
                  <a:solidFill>
                    <a:sysClr val="windowText" lastClr="000000"/>
                  </a:solidFill>
                </a:rPr>
                <a:t>Distributed Architecture</a:t>
              </a:r>
            </a:p>
          </p:txBody>
        </p:sp>
        <p:pic>
          <p:nvPicPr>
            <p:cNvPr id="158" name="Picture 72"/>
            <p:cNvPicPr>
              <a:picLocks noChangeAspect="1"/>
            </p:cNvPicPr>
            <p:nvPr/>
          </p:nvPicPr>
          <p:blipFill>
            <a:blip r:embed="rId8" cstate="print"/>
            <a:srcRect/>
            <a:stretch>
              <a:fillRect/>
            </a:stretch>
          </p:blipFill>
          <p:spPr bwMode="auto">
            <a:xfrm>
              <a:off x="5954713" y="3888674"/>
              <a:ext cx="903287" cy="676275"/>
            </a:xfrm>
            <a:prstGeom prst="rect">
              <a:avLst/>
            </a:prstGeom>
            <a:noFill/>
            <a:ln w="9525">
              <a:noFill/>
              <a:miter lim="800000"/>
              <a:headEnd/>
              <a:tailEnd/>
            </a:ln>
          </p:spPr>
        </p:pic>
        <p:pic>
          <p:nvPicPr>
            <p:cNvPr id="159" name="Picture 75"/>
            <p:cNvPicPr>
              <a:picLocks noChangeAspect="1"/>
            </p:cNvPicPr>
            <p:nvPr/>
          </p:nvPicPr>
          <p:blipFill>
            <a:blip r:embed="rId8" cstate="print"/>
            <a:srcRect/>
            <a:stretch>
              <a:fillRect/>
            </a:stretch>
          </p:blipFill>
          <p:spPr bwMode="auto">
            <a:xfrm>
              <a:off x="5954713" y="3588636"/>
              <a:ext cx="903287" cy="677863"/>
            </a:xfrm>
            <a:prstGeom prst="rect">
              <a:avLst/>
            </a:prstGeom>
            <a:noFill/>
            <a:ln w="9525">
              <a:noFill/>
              <a:miter lim="800000"/>
              <a:headEnd/>
              <a:tailEnd/>
            </a:ln>
          </p:spPr>
        </p:pic>
        <p:pic>
          <p:nvPicPr>
            <p:cNvPr id="160" name="Picture 80"/>
            <p:cNvPicPr>
              <a:picLocks noChangeAspect="1"/>
            </p:cNvPicPr>
            <p:nvPr/>
          </p:nvPicPr>
          <p:blipFill>
            <a:blip r:embed="rId8" cstate="print"/>
            <a:srcRect/>
            <a:stretch>
              <a:fillRect/>
            </a:stretch>
          </p:blipFill>
          <p:spPr bwMode="auto">
            <a:xfrm>
              <a:off x="6916738" y="3888674"/>
              <a:ext cx="903287" cy="676275"/>
            </a:xfrm>
            <a:prstGeom prst="rect">
              <a:avLst/>
            </a:prstGeom>
            <a:noFill/>
            <a:ln w="9525">
              <a:noFill/>
              <a:miter lim="800000"/>
              <a:headEnd/>
              <a:tailEnd/>
            </a:ln>
          </p:spPr>
        </p:pic>
        <p:pic>
          <p:nvPicPr>
            <p:cNvPr id="161" name="Picture 81"/>
            <p:cNvPicPr>
              <a:picLocks noChangeAspect="1"/>
            </p:cNvPicPr>
            <p:nvPr/>
          </p:nvPicPr>
          <p:blipFill>
            <a:blip r:embed="rId8" cstate="print"/>
            <a:srcRect/>
            <a:stretch>
              <a:fillRect/>
            </a:stretch>
          </p:blipFill>
          <p:spPr bwMode="auto">
            <a:xfrm>
              <a:off x="6916738" y="3588636"/>
              <a:ext cx="903287" cy="677863"/>
            </a:xfrm>
            <a:prstGeom prst="rect">
              <a:avLst/>
            </a:prstGeom>
            <a:noFill/>
            <a:ln w="9525">
              <a:noFill/>
              <a:miter lim="800000"/>
              <a:headEnd/>
              <a:tailEnd/>
            </a:ln>
          </p:spPr>
        </p:pic>
        <p:pic>
          <p:nvPicPr>
            <p:cNvPr id="162" name="Picture 161"/>
            <p:cNvPicPr>
              <a:picLocks noChangeAspect="1"/>
            </p:cNvPicPr>
            <p:nvPr/>
          </p:nvPicPr>
          <p:blipFill>
            <a:blip r:embed="rId8" cstate="print">
              <a:duotone>
                <a:prstClr val="black"/>
                <a:srgbClr val="FFBC1D">
                  <a:tint val="45000"/>
                  <a:satMod val="400000"/>
                </a:srgbClr>
              </a:duotone>
              <a:extLst/>
            </a:blip>
            <a:stretch>
              <a:fillRect/>
            </a:stretch>
          </p:blipFill>
          <p:spPr>
            <a:xfrm>
              <a:off x="6916580" y="3281952"/>
              <a:ext cx="903272" cy="676582"/>
            </a:xfrm>
            <a:prstGeom prst="rect">
              <a:avLst/>
            </a:prstGeom>
          </p:spPr>
        </p:pic>
        <p:pic>
          <p:nvPicPr>
            <p:cNvPr id="163" name="Picture 95"/>
            <p:cNvPicPr>
              <a:picLocks noChangeAspect="1"/>
            </p:cNvPicPr>
            <p:nvPr/>
          </p:nvPicPr>
          <p:blipFill>
            <a:blip r:embed="rId8" cstate="print"/>
            <a:srcRect/>
            <a:stretch>
              <a:fillRect/>
            </a:stretch>
          </p:blipFill>
          <p:spPr bwMode="auto">
            <a:xfrm>
              <a:off x="7896225" y="3888674"/>
              <a:ext cx="903288" cy="676275"/>
            </a:xfrm>
            <a:prstGeom prst="rect">
              <a:avLst/>
            </a:prstGeom>
            <a:noFill/>
            <a:ln w="9525">
              <a:noFill/>
              <a:miter lim="800000"/>
              <a:headEnd/>
              <a:tailEnd/>
            </a:ln>
          </p:spPr>
        </p:pic>
        <p:pic>
          <p:nvPicPr>
            <p:cNvPr id="164" name="Picture 96"/>
            <p:cNvPicPr>
              <a:picLocks noChangeAspect="1"/>
            </p:cNvPicPr>
            <p:nvPr/>
          </p:nvPicPr>
          <p:blipFill>
            <a:blip r:embed="rId8" cstate="print"/>
            <a:srcRect/>
            <a:stretch>
              <a:fillRect/>
            </a:stretch>
          </p:blipFill>
          <p:spPr bwMode="auto">
            <a:xfrm>
              <a:off x="7896225" y="3588636"/>
              <a:ext cx="903288" cy="677863"/>
            </a:xfrm>
            <a:prstGeom prst="rect">
              <a:avLst/>
            </a:prstGeom>
            <a:noFill/>
            <a:ln w="9525">
              <a:noFill/>
              <a:miter lim="800000"/>
              <a:headEnd/>
              <a:tailEnd/>
            </a:ln>
          </p:spPr>
        </p:pic>
        <p:sp>
          <p:nvSpPr>
            <p:cNvPr id="165" name="Right Arrow 164"/>
            <p:cNvSpPr/>
            <p:nvPr/>
          </p:nvSpPr>
          <p:spPr>
            <a:xfrm>
              <a:off x="5954713" y="4482399"/>
              <a:ext cx="2782887" cy="40640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844083">
                <a:defRPr/>
              </a:pPr>
              <a:r>
                <a:rPr lang="en-US" sz="1015" b="1" kern="0" dirty="0">
                  <a:solidFill>
                    <a:srgbClr val="000000"/>
                  </a:solidFill>
                  <a:latin typeface="Arial"/>
                </a:rPr>
                <a:t>Horizontal Scaling</a:t>
              </a:r>
            </a:p>
          </p:txBody>
        </p:sp>
        <p:pic>
          <p:nvPicPr>
            <p:cNvPr id="166" name="Picture 129"/>
            <p:cNvPicPr>
              <a:picLocks noChangeAspect="1"/>
            </p:cNvPicPr>
            <p:nvPr/>
          </p:nvPicPr>
          <p:blipFill>
            <a:blip r:embed="rId8" cstate="print"/>
            <a:srcRect/>
            <a:stretch>
              <a:fillRect/>
            </a:stretch>
          </p:blipFill>
          <p:spPr bwMode="auto">
            <a:xfrm>
              <a:off x="6858000" y="2537711"/>
              <a:ext cx="903288" cy="676275"/>
            </a:xfrm>
            <a:prstGeom prst="rect">
              <a:avLst/>
            </a:prstGeom>
            <a:noFill/>
            <a:ln w="9525">
              <a:noFill/>
              <a:miter lim="800000"/>
              <a:headEnd/>
              <a:tailEnd/>
            </a:ln>
          </p:spPr>
        </p:pic>
        <p:sp>
          <p:nvSpPr>
            <p:cNvPr id="167" name="Right Arrow 166"/>
            <p:cNvSpPr/>
            <p:nvPr/>
          </p:nvSpPr>
          <p:spPr>
            <a:xfrm rot="16200000">
              <a:off x="4841081" y="3821206"/>
              <a:ext cx="1520825" cy="417512"/>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844083">
                <a:defRPr/>
              </a:pPr>
              <a:r>
                <a:rPr lang="en-US" sz="1015" b="1" kern="0" dirty="0">
                  <a:solidFill>
                    <a:srgbClr val="000000"/>
                  </a:solidFill>
                  <a:latin typeface="Arial"/>
                </a:rPr>
                <a:t>Replication /HA</a:t>
              </a:r>
            </a:p>
          </p:txBody>
        </p:sp>
        <p:pic>
          <p:nvPicPr>
            <p:cNvPr id="168" name="Picture 167"/>
            <p:cNvPicPr>
              <a:picLocks noChangeAspect="1"/>
            </p:cNvPicPr>
            <p:nvPr/>
          </p:nvPicPr>
          <p:blipFill>
            <a:blip r:embed="rId8" cstate="print">
              <a:duotone>
                <a:prstClr val="black"/>
                <a:srgbClr val="FFBC1D">
                  <a:tint val="45000"/>
                  <a:satMod val="400000"/>
                </a:srgbClr>
              </a:duotone>
              <a:extLst/>
            </a:blip>
            <a:stretch>
              <a:fillRect/>
            </a:stretch>
          </p:blipFill>
          <p:spPr>
            <a:xfrm>
              <a:off x="5954385" y="3281952"/>
              <a:ext cx="903272" cy="676582"/>
            </a:xfrm>
            <a:prstGeom prst="rect">
              <a:avLst/>
            </a:prstGeom>
          </p:spPr>
        </p:pic>
        <p:pic>
          <p:nvPicPr>
            <p:cNvPr id="169" name="Picture 168"/>
            <p:cNvPicPr>
              <a:picLocks noChangeAspect="1"/>
            </p:cNvPicPr>
            <p:nvPr/>
          </p:nvPicPr>
          <p:blipFill>
            <a:blip r:embed="rId8" cstate="print">
              <a:duotone>
                <a:prstClr val="black"/>
                <a:srgbClr val="FFBC1D">
                  <a:tint val="45000"/>
                  <a:satMod val="400000"/>
                </a:srgbClr>
              </a:duotone>
              <a:extLst/>
            </a:blip>
            <a:stretch>
              <a:fillRect/>
            </a:stretch>
          </p:blipFill>
          <p:spPr>
            <a:xfrm>
              <a:off x="7893763" y="3281952"/>
              <a:ext cx="903272" cy="676582"/>
            </a:xfrm>
            <a:prstGeom prst="rect">
              <a:avLst/>
            </a:prstGeom>
          </p:spPr>
        </p:pic>
        <p:sp>
          <p:nvSpPr>
            <p:cNvPr id="170" name="Right Arrow 169"/>
            <p:cNvSpPr/>
            <p:nvPr/>
          </p:nvSpPr>
          <p:spPr>
            <a:xfrm rot="5400000">
              <a:off x="7177881" y="3079843"/>
              <a:ext cx="325437" cy="254000"/>
            </a:xfrm>
            <a:prstGeom prst="rightArrow">
              <a:avLst/>
            </a:prstGeom>
            <a:gradFill rotWithShape="1">
              <a:gsLst>
                <a:gs pos="0">
                  <a:srgbClr val="D4CDB8">
                    <a:shade val="51000"/>
                    <a:satMod val="130000"/>
                  </a:srgbClr>
                </a:gs>
                <a:gs pos="80000">
                  <a:srgbClr val="D4CDB8">
                    <a:shade val="93000"/>
                    <a:satMod val="130000"/>
                  </a:srgbClr>
                </a:gs>
                <a:gs pos="100000">
                  <a:srgbClr val="D4CDB8">
                    <a:shade val="94000"/>
                    <a:satMod val="135000"/>
                  </a:srgbClr>
                </a:gs>
              </a:gsLst>
              <a:lin ang="16200000" scaled="0"/>
            </a:gradFill>
            <a:ln w="9525" cap="flat" cmpd="sng" algn="ctr">
              <a:solidFill>
                <a:srgbClr val="D4CDB8">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cxnSp>
          <p:nvCxnSpPr>
            <p:cNvPr id="171" name="Curved Connector 170"/>
            <p:cNvCxnSpPr>
              <a:stCxn id="168" idx="1"/>
            </p:cNvCxnSpPr>
            <p:nvPr/>
          </p:nvCxnSpPr>
          <p:spPr>
            <a:xfrm rot="10800000" flipV="1">
              <a:off x="5954713" y="3620386"/>
              <a:ext cx="12700" cy="306388"/>
            </a:xfrm>
            <a:prstGeom prst="curvedConnector3">
              <a:avLst>
                <a:gd name="adj1" fmla="val 1300000"/>
              </a:avLst>
            </a:prstGeom>
            <a:noFill/>
            <a:ln w="19050" cap="flat" cmpd="sng" algn="ctr">
              <a:solidFill>
                <a:srgbClr val="000000"/>
              </a:solidFill>
              <a:prstDash val="solid"/>
              <a:tailEnd type="arrow" w="med" len="sm"/>
            </a:ln>
            <a:effectLst>
              <a:outerShdw blurRad="40000" dist="20000" dir="5400000" rotWithShape="0">
                <a:srgbClr val="000000">
                  <a:alpha val="38000"/>
                </a:srgbClr>
              </a:outerShdw>
            </a:effectLst>
          </p:spPr>
        </p:cxnSp>
        <p:cxnSp>
          <p:nvCxnSpPr>
            <p:cNvPr id="172" name="Curved Connector 171"/>
            <p:cNvCxnSpPr>
              <a:stCxn id="168" idx="1"/>
            </p:cNvCxnSpPr>
            <p:nvPr/>
          </p:nvCxnSpPr>
          <p:spPr>
            <a:xfrm rot="10800000" flipV="1">
              <a:off x="5954713" y="3620386"/>
              <a:ext cx="12700" cy="606425"/>
            </a:xfrm>
            <a:prstGeom prst="curvedConnector3">
              <a:avLst>
                <a:gd name="adj1" fmla="val 1800000"/>
              </a:avLst>
            </a:prstGeom>
            <a:noFill/>
            <a:ln w="19050" cap="flat" cmpd="sng" algn="ctr">
              <a:solidFill>
                <a:srgbClr val="000000"/>
              </a:solidFill>
              <a:prstDash val="solid"/>
              <a:tailEnd type="arrow" w="med" len="sm"/>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val="33391331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182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Why </a:t>
            </a:r>
            <a:r>
              <a:rPr lang="en-US" sz="3200" dirty="0" smtClean="0">
                <a:solidFill>
                  <a:schemeClr val="tx2"/>
                </a:solidFill>
              </a:rPr>
              <a:t>MongoDB-</a:t>
            </a:r>
            <a:r>
              <a:rPr lang="en-US" sz="3200" dirty="0" smtClean="0">
                <a:solidFill>
                  <a:schemeClr val="tx2"/>
                </a:solidFill>
                <a:latin typeface="Arial Narrow" pitchFamily="34" charset="0"/>
              </a:rPr>
              <a:t>History</a:t>
            </a:r>
            <a:endParaRPr lang="en-US" sz="3200" dirty="0">
              <a:solidFill>
                <a:schemeClr val="tx2"/>
              </a:solidFill>
              <a:latin typeface="Arial Narrow" pitchFamily="34" charset="0"/>
            </a:endParaRPr>
          </a:p>
        </p:txBody>
      </p:sp>
      <p:grpSp>
        <p:nvGrpSpPr>
          <p:cNvPr id="17" name="Group 12"/>
          <p:cNvGrpSpPr/>
          <p:nvPr/>
        </p:nvGrpSpPr>
        <p:grpSpPr>
          <a:xfrm>
            <a:off x="1765738" y="1665026"/>
            <a:ext cx="5556738" cy="3264375"/>
            <a:chOff x="1676400" y="2038290"/>
            <a:chExt cx="6019800" cy="3536406"/>
          </a:xfrm>
        </p:grpSpPr>
        <p:grpSp>
          <p:nvGrpSpPr>
            <p:cNvPr id="18" name="Group 10"/>
            <p:cNvGrpSpPr/>
            <p:nvPr/>
          </p:nvGrpSpPr>
          <p:grpSpPr>
            <a:xfrm>
              <a:off x="1676400" y="2038290"/>
              <a:ext cx="6019800" cy="3536406"/>
              <a:chOff x="1676400" y="2038290"/>
              <a:chExt cx="6019800" cy="3536406"/>
            </a:xfrm>
          </p:grpSpPr>
          <p:sp>
            <p:nvSpPr>
              <p:cNvPr id="20" name="TextBox 3"/>
              <p:cNvSpPr txBox="1"/>
              <p:nvPr/>
            </p:nvSpPr>
            <p:spPr>
              <a:xfrm>
                <a:off x="5105401" y="51054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007</a:t>
                </a:r>
                <a:endParaRPr lang="en-US" sz="1846" b="1" kern="0" dirty="0">
                  <a:solidFill>
                    <a:srgbClr val="000000"/>
                  </a:solidFill>
                  <a:latin typeface="Arial"/>
                </a:endParaRPr>
              </a:p>
            </p:txBody>
          </p:sp>
          <p:sp>
            <p:nvSpPr>
              <p:cNvPr id="21" name="TextBox 20"/>
              <p:cNvSpPr txBox="1"/>
              <p:nvPr/>
            </p:nvSpPr>
            <p:spPr>
              <a:xfrm>
                <a:off x="1676400" y="34290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009</a:t>
                </a:r>
                <a:endParaRPr lang="en-US" sz="1846" b="1" kern="0" dirty="0">
                  <a:solidFill>
                    <a:srgbClr val="000000"/>
                  </a:solidFill>
                  <a:latin typeface="Arial"/>
                </a:endParaRPr>
              </a:p>
            </p:txBody>
          </p:sp>
          <p:sp>
            <p:nvSpPr>
              <p:cNvPr id="22" name="TextBox 21"/>
              <p:cNvSpPr txBox="1"/>
              <p:nvPr/>
            </p:nvSpPr>
            <p:spPr>
              <a:xfrm>
                <a:off x="6553200" y="26670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6.7</a:t>
                </a:r>
                <a:endParaRPr lang="en-US" sz="1846" b="1" kern="0" dirty="0">
                  <a:solidFill>
                    <a:srgbClr val="000000"/>
                  </a:solidFill>
                  <a:latin typeface="Arial"/>
                </a:endParaRPr>
              </a:p>
            </p:txBody>
          </p:sp>
          <p:sp>
            <p:nvSpPr>
              <p:cNvPr id="23" name="TextBox 22"/>
              <p:cNvSpPr txBox="1"/>
              <p:nvPr/>
            </p:nvSpPr>
            <p:spPr>
              <a:xfrm>
                <a:off x="3886200" y="2819400"/>
                <a:ext cx="1143000" cy="469296"/>
              </a:xfrm>
              <a:prstGeom prst="rect">
                <a:avLst/>
              </a:prstGeom>
              <a:gradFill rotWithShape="1">
                <a:gsLst>
                  <a:gs pos="0">
                    <a:srgbClr val="E6E3D8">
                      <a:tint val="50000"/>
                      <a:satMod val="300000"/>
                    </a:srgbClr>
                  </a:gs>
                  <a:gs pos="35000">
                    <a:srgbClr val="E6E3D8">
                      <a:tint val="37000"/>
                      <a:satMod val="300000"/>
                    </a:srgbClr>
                  </a:gs>
                  <a:gs pos="100000">
                    <a:srgbClr val="E6E3D8">
                      <a:tint val="15000"/>
                      <a:satMod val="350000"/>
                    </a:srgbClr>
                  </a:gs>
                </a:gsLst>
                <a:lin ang="16200000" scaled="1"/>
              </a:gradFill>
              <a:ln w="9525" cap="flat" cmpd="sng" algn="ctr">
                <a:solidFill>
                  <a:srgbClr val="E6E3D8">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3.0</a:t>
                </a:r>
                <a:endParaRPr lang="en-US" sz="1846" b="1" kern="0" dirty="0">
                  <a:solidFill>
                    <a:srgbClr val="000000"/>
                  </a:solidFill>
                  <a:latin typeface="Arial"/>
                </a:endParaRPr>
              </a:p>
            </p:txBody>
          </p:sp>
          <p:sp>
            <p:nvSpPr>
              <p:cNvPr id="24" name="TextBox 23"/>
              <p:cNvSpPr txBox="1"/>
              <p:nvPr/>
            </p:nvSpPr>
            <p:spPr>
              <a:xfrm>
                <a:off x="5638800" y="3886200"/>
                <a:ext cx="1143000" cy="469296"/>
              </a:xfrm>
              <a:prstGeom prst="rect">
                <a:avLst/>
              </a:prstGeom>
              <a:gradFill rotWithShape="1">
                <a:gsLst>
                  <a:gs pos="0">
                    <a:srgbClr val="FFBC1D">
                      <a:tint val="50000"/>
                      <a:satMod val="300000"/>
                    </a:srgbClr>
                  </a:gs>
                  <a:gs pos="35000">
                    <a:srgbClr val="FFBC1D">
                      <a:tint val="37000"/>
                      <a:satMod val="300000"/>
                    </a:srgbClr>
                  </a:gs>
                  <a:gs pos="100000">
                    <a:srgbClr val="FFBC1D">
                      <a:tint val="15000"/>
                      <a:satMod val="350000"/>
                    </a:srgbClr>
                  </a:gs>
                </a:gsLst>
                <a:lin ang="16200000" scaled="1"/>
              </a:gradFill>
              <a:ln w="9525" cap="flat" cmpd="sng" algn="ctr">
                <a:solidFill>
                  <a:srgbClr val="FFBC1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10gen</a:t>
                </a:r>
                <a:endParaRPr lang="en-US" sz="1846" b="1" kern="0" dirty="0">
                  <a:solidFill>
                    <a:srgbClr val="000000"/>
                  </a:solidFill>
                  <a:latin typeface="Arial"/>
                </a:endParaRPr>
              </a:p>
            </p:txBody>
          </p:sp>
          <p:sp>
            <p:nvSpPr>
              <p:cNvPr id="25" name="TextBox 24"/>
              <p:cNvSpPr txBox="1"/>
              <p:nvPr/>
            </p:nvSpPr>
            <p:spPr>
              <a:xfrm>
                <a:off x="2133600" y="4629090"/>
                <a:ext cx="2362200" cy="469296"/>
              </a:xfrm>
              <a:prstGeom prst="rect">
                <a:avLst/>
              </a:prstGeom>
              <a:gradFill rotWithShape="1">
                <a:gsLst>
                  <a:gs pos="0">
                    <a:srgbClr val="D4CDB8">
                      <a:tint val="50000"/>
                      <a:satMod val="300000"/>
                    </a:srgbClr>
                  </a:gs>
                  <a:gs pos="35000">
                    <a:srgbClr val="D4CDB8">
                      <a:tint val="37000"/>
                      <a:satMod val="300000"/>
                    </a:srgbClr>
                  </a:gs>
                  <a:gs pos="100000">
                    <a:srgbClr val="D4CDB8">
                      <a:tint val="15000"/>
                      <a:satMod val="350000"/>
                    </a:srgbClr>
                  </a:gs>
                </a:gsLst>
                <a:lin ang="16200000" scaled="1"/>
              </a:gradFill>
              <a:ln w="9525" cap="flat" cmpd="sng" algn="ctr">
                <a:solidFill>
                  <a:srgbClr val="D4CDB8">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HUMONGOUS</a:t>
                </a:r>
                <a:endParaRPr lang="en-US" sz="1846" b="1" kern="0" dirty="0">
                  <a:solidFill>
                    <a:srgbClr val="000000"/>
                  </a:solidFill>
                  <a:latin typeface="Arial"/>
                </a:endParaRPr>
              </a:p>
            </p:txBody>
          </p:sp>
          <p:sp>
            <p:nvSpPr>
              <p:cNvPr id="26" name="TextBox 25"/>
              <p:cNvSpPr txBox="1"/>
              <p:nvPr/>
            </p:nvSpPr>
            <p:spPr>
              <a:xfrm>
                <a:off x="2133600" y="2038290"/>
                <a:ext cx="1524000" cy="469296"/>
              </a:xfrm>
              <a:prstGeom prst="rect">
                <a:avLst/>
              </a:prstGeom>
              <a:gradFill rotWithShape="1">
                <a:gsLst>
                  <a:gs pos="0">
                    <a:srgbClr val="FFBC1D">
                      <a:tint val="50000"/>
                      <a:satMod val="300000"/>
                    </a:srgbClr>
                  </a:gs>
                  <a:gs pos="35000">
                    <a:srgbClr val="FFBC1D">
                      <a:tint val="37000"/>
                      <a:satMod val="300000"/>
                    </a:srgbClr>
                  </a:gs>
                  <a:gs pos="100000">
                    <a:srgbClr val="FFBC1D">
                      <a:tint val="15000"/>
                      <a:satMod val="350000"/>
                    </a:srgbClr>
                  </a:gs>
                </a:gsLst>
                <a:lin ang="16200000" scaled="1"/>
              </a:gradFill>
              <a:ln w="9525" cap="flat" cmpd="sng" algn="ctr">
                <a:solidFill>
                  <a:srgbClr val="FFBC1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Jan 2015</a:t>
                </a:r>
                <a:endParaRPr lang="en-US" sz="1846" b="1" kern="0" dirty="0">
                  <a:solidFill>
                    <a:srgbClr val="000000"/>
                  </a:solidFill>
                  <a:latin typeface="Arial"/>
                </a:endParaRPr>
              </a:p>
            </p:txBody>
          </p:sp>
        </p:grpSp>
        <p:sp>
          <p:nvSpPr>
            <p:cNvPr id="19" name="TextBox 18"/>
            <p:cNvSpPr txBox="1"/>
            <p:nvPr/>
          </p:nvSpPr>
          <p:spPr>
            <a:xfrm>
              <a:off x="3581400" y="3653135"/>
              <a:ext cx="1524000" cy="46929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C++</a:t>
              </a:r>
              <a:endParaRPr lang="en-US" sz="1846" b="1" kern="0" dirty="0">
                <a:solidFill>
                  <a:srgbClr val="000000"/>
                </a:solidFill>
                <a:latin typeface="Arial"/>
              </a:endParaRPr>
            </a:p>
          </p:txBody>
        </p:sp>
      </p:grpSp>
    </p:spTree>
    <p:extLst>
      <p:ext uri="{BB962C8B-B14F-4D97-AF65-F5344CB8AC3E}">
        <p14:creationId xmlns:p14="http://schemas.microsoft.com/office/powerpoint/2010/main" val="2549270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28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Features </a:t>
            </a:r>
            <a:r>
              <a:rPr lang="en-US" sz="3200" dirty="0">
                <a:solidFill>
                  <a:schemeClr val="tx2"/>
                </a:solidFill>
                <a:latin typeface="Arial" panose="020B0604020202020204" pitchFamily="34" charset="0"/>
                <a:cs typeface="Arial" panose="020B0604020202020204" pitchFamily="34" charset="0"/>
              </a:rPr>
              <a:t>of MongoDB</a:t>
            </a:r>
          </a:p>
        </p:txBody>
      </p:sp>
      <p:graphicFrame>
        <p:nvGraphicFramePr>
          <p:cNvPr id="7" name="Diagram 6"/>
          <p:cNvGraphicFramePr/>
          <p:nvPr/>
        </p:nvGraphicFramePr>
        <p:xfrm>
          <a:off x="2328446" y="1324235"/>
          <a:ext cx="3361693" cy="46587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189683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7.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8.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9.xml><?xml version="1.0" encoding="utf-8"?>
<a:theme xmlns:a="http://schemas.openxmlformats.org/drawingml/2006/main" name="3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D7FAE72B-43B2-49E9-AA97-1BFBA1F6BA44}"/>
</file>

<file path=docProps/app.xml><?xml version="1.0" encoding="utf-8"?>
<Properties xmlns="http://schemas.openxmlformats.org/officeDocument/2006/extended-properties" xmlns:vt="http://schemas.openxmlformats.org/officeDocument/2006/docPropsVTypes">
  <Template/>
  <TotalTime>7271</TotalTime>
  <Words>1585</Words>
  <Application>Microsoft Office PowerPoint</Application>
  <PresentationFormat>On-screen Show (4:3)</PresentationFormat>
  <Paragraphs>292</Paragraphs>
  <Slides>28</Slides>
  <Notes>25</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28</vt:i4>
      </vt:variant>
    </vt:vector>
  </HeadingPairs>
  <TitlesOfParts>
    <vt:vector size="45" baseType="lpstr">
      <vt:lpstr>Arial</vt:lpstr>
      <vt:lpstr>Arial Narrow</vt:lpstr>
      <vt:lpstr>Calibri</vt:lpstr>
      <vt:lpstr>Gill Sans</vt:lpstr>
      <vt:lpstr>Verdana</vt:lpstr>
      <vt:lpstr>Wingdings</vt:lpstr>
      <vt:lpstr>ヒラギノ角ゴ ProN W3</vt:lpstr>
      <vt:lpstr>Capgemini 2017_Cover slides</vt:lpstr>
      <vt:lpstr>Section slides</vt:lpstr>
      <vt:lpstr>Content Layouts</vt:lpstr>
      <vt:lpstr>Content and Image Layouts</vt:lpstr>
      <vt:lpstr>1_Section slides</vt:lpstr>
      <vt:lpstr>2_Section slides</vt:lpstr>
      <vt:lpstr>1_Content Layouts</vt:lpstr>
      <vt:lpstr>1_Content and Image Layouts</vt:lpstr>
      <vt:lpstr>3_Section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When not to us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reating and dropping collections</vt:lpstr>
      <vt:lpstr>  DataTypes</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628</cp:revision>
  <dcterms:created xsi:type="dcterms:W3CDTF">2012-05-18T02:59:15Z</dcterms:created>
  <dcterms:modified xsi:type="dcterms:W3CDTF">2018-05-14T13:0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